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14" r:id="rId2"/>
  </p:sldMasterIdLst>
  <p:notesMasterIdLst>
    <p:notesMasterId r:id="rId19"/>
  </p:notesMasterIdLst>
  <p:sldIdLst>
    <p:sldId id="256" r:id="rId3"/>
    <p:sldId id="280" r:id="rId4"/>
    <p:sldId id="257" r:id="rId5"/>
    <p:sldId id="387" r:id="rId6"/>
    <p:sldId id="393" r:id="rId7"/>
    <p:sldId id="394" r:id="rId8"/>
    <p:sldId id="388" r:id="rId9"/>
    <p:sldId id="395" r:id="rId10"/>
    <p:sldId id="399" r:id="rId11"/>
    <p:sldId id="396" r:id="rId12"/>
    <p:sldId id="398" r:id="rId13"/>
    <p:sldId id="397" r:id="rId14"/>
    <p:sldId id="400" r:id="rId15"/>
    <p:sldId id="401" r:id="rId16"/>
    <p:sldId id="402" r:id="rId17"/>
    <p:sldId id="403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89FD44-EEA5-493A-AE90-4D368D9F2CCF}" type="datetimeFigureOut">
              <a:rPr lang="sk-SK" smtClean="0"/>
              <a:t>18. 9. 2018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B8AF51-914A-4BB6-A3A0-D2D61C23514C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6570284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landscape is made up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European</a:t>
            </a:r>
            <a:r>
              <a:rPr lang="en-GB" baseline="0" dirty="0"/>
              <a:t> Hub and its interfa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The National Blueprint System and its Interfac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SDKs with working code examples for the Hub and Blueprint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Pharmacy / Dispensaries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baseline="0" dirty="0"/>
              <a:t>The scope covered by the Model Contract is the National Blueprint and its interfa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baseline="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9C65BF-27CC-40C3-85C9-1655C28BD25B}" type="slidenum">
              <a:rPr kumimoji="0" lang="it-I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24574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/>
              <a:t>Kliknutím upravte štýl predlohy podnadpis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ED0C187F-30BD-4C09-9EE6-B3CB894E02D0}" type="datetime1">
              <a:rPr lang="sk-SK" smtClean="0"/>
              <a:t>18. 9. 2018</a:t>
            </a:fld>
            <a:endParaRPr lang="sk-S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sk-SK"/>
          </a:p>
        </p:txBody>
      </p:sp>
      <p:sp>
        <p:nvSpPr>
          <p:cNvPr id="11" name="Rectangle 1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</p:spPr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02219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tický 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sk-SK"/>
              <a:t>Kliknutím na ikonu pridáte obrázok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9D280-1CA8-4FDC-9806-76AFBB3E1AE9}" type="datetime1">
              <a:rPr lang="sk-SK" smtClean="0"/>
              <a:t>18. 9. 2018</a:t>
            </a:fld>
            <a:endParaRPr lang="sk-S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979415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ázov a po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5775-9449-4B1D-91C5-E4A91C83CCDB}" type="datetime1">
              <a:rPr lang="sk-SK" smtClean="0"/>
              <a:t>18. 9. 2018</a:t>
            </a:fld>
            <a:endParaRPr lang="sk-S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9660000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nuka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9285F9-DAA2-467C-B0E7-CFB5F4A523DD}" type="datetime1">
              <a:rPr lang="sk-SK" smtClean="0"/>
              <a:t>18. 9. 2018</a:t>
            </a:fld>
            <a:endParaRPr lang="sk-S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9" name="Rectangle 18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770250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rta s náz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A9E97-3D61-43B7-98E0-BF0CBF841148}" type="datetime1">
              <a:rPr lang="sk-SK" smtClean="0"/>
              <a:t>18. 9. 2018</a:t>
            </a:fld>
            <a:endParaRPr lang="sk-S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36678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tĺp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8EBEC-D160-4799-894A-9540F31E5484}" type="datetime1">
              <a:rPr lang="sk-SK" smtClean="0"/>
              <a:t>18. 9. 2018</a:t>
            </a:fld>
            <a:endParaRPr lang="sk-S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084881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tĺpec s obráz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sk-SK"/>
              <a:t>Kliknutím na ikonu pridáte obrázok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sk-SK"/>
              <a:t>Kliknutím na ikonu pridáte obrázok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sk-SK"/>
              <a:t>Kliknutím na ikonu pridáte obrázok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DB837-4AF6-4A34-8A5C-10FE89BEEECA}" type="datetime1">
              <a:rPr lang="sk-SK" smtClean="0"/>
              <a:t>18. 9. 2018</a:t>
            </a:fld>
            <a:endParaRPr lang="sk-S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endParaRPr lang="sk-S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939287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95439" y="6391838"/>
            <a:ext cx="990599" cy="304799"/>
          </a:xfrm>
        </p:spPr>
        <p:txBody>
          <a:bodyPr/>
          <a:lstStyle/>
          <a:p>
            <a:fld id="{A6D14685-83F4-4BC7-A6C0-10CABDBFBBAB}" type="datetime1">
              <a:rPr lang="sk-SK" smtClean="0"/>
              <a:t>18. 9. 2018</a:t>
            </a:fld>
            <a:endParaRPr lang="sk-S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8946407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AA03B093-915D-4BBA-936B-0064E5F01B5B}" type="datetime1">
              <a:rPr lang="sk-SK" smtClean="0"/>
              <a:t>18. 9. 2018</a:t>
            </a:fld>
            <a:endParaRPr lang="sk-S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1738291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Oval 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Oval 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Oval 10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76279" y="1792223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/>
                </a:solidFill>
              </a:defRPr>
            </a:lvl1pPr>
          </a:lstStyle>
          <a:p>
            <a:fld id="{5923F103-BC34-4FE4-A40E-EDDEECFDA5D0}" type="datetimeFigureOut">
              <a:rPr lang="en-US" smtClean="0"/>
              <a:pPr/>
              <a:t>9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63575" y="3226820"/>
            <a:ext cx="3859795" cy="304801"/>
          </a:xfrm>
        </p:spPr>
        <p:txBody>
          <a:bodyPr anchor="b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1008" y="292608"/>
            <a:ext cx="838199" cy="767687"/>
          </a:xfrm>
        </p:spPr>
        <p:txBody>
          <a:bodyPr/>
          <a:lstStyle>
            <a:lvl1pPr>
              <a:defRPr sz="2800" b="0" i="0"/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439831"/>
      </p:ext>
    </p:extLst>
  </p:cSld>
  <p:clrMapOvr>
    <a:masterClrMapping/>
  </p:clrMapOvr>
  <p:hf sldNum="0"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154954" y="947920"/>
            <a:ext cx="8761413" cy="7284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CA7B-DFD4-44B5-8C60-D14B8CD1FB59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07CDE-7849-4157-8121-586041AABAC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DF6923-C253-4033-9EC8-2A0076847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6117265"/>
            <a:ext cx="1261517" cy="55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796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78684-223A-4931-AFCC-87C810F0A87B}" type="datetime1">
              <a:rPr lang="sk-SK" smtClean="0"/>
              <a:t>18. 9. 2018</a:t>
            </a:fld>
            <a:endParaRPr lang="sk-S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1812363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8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9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677644"/>
            <a:ext cx="4351023" cy="2283823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E6425-0181-43F2-84FC-787E803FD2F8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453176"/>
      </p:ext>
    </p:extLst>
  </p:cSld>
  <p:clrMapOvr>
    <a:masterClrMapping/>
  </p:clrMapOvr>
  <p:hf sldNum="0"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1368" y="2603500"/>
            <a:ext cx="4828744" cy="3416301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1" y="2603500"/>
            <a:ext cx="4825159" cy="3377705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B8791-F1B0-41E7-B7FD-A781E65C4266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811597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36063"/>
            <a:ext cx="482515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212326"/>
            <a:ext cx="4825158" cy="2807476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1" y="2603499"/>
            <a:ext cx="4825160" cy="608825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212327"/>
            <a:ext cx="4825159" cy="2807474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D63B2-E120-4ED8-B27B-C685F510A5FE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356772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E1745-595B-4991-AEC0-FF049A7EEA0A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5BDDC-23DE-49AE-A5D2-38EADB887B6C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563F15-120F-4477-A3C0-E32AC61F00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6276938"/>
            <a:ext cx="1193967" cy="523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877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7E02-BCB8-4D50-A234-369438C08659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876581"/>
      </p:ext>
    </p:extLst>
  </p:cSld>
  <p:clrMapOvr>
    <a:masterClrMapping/>
  </p:clrMapOvr>
  <p:hf sldNum="0"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Rectangle 7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5" cy="45720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5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E86A4C-8E40-4F87-A4F0-01A0687C5742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23165"/>
      </p:ext>
    </p:extLst>
  </p:cSld>
  <p:clrMapOvr>
    <a:masterClrMapping/>
  </p:clrMapOvr>
  <p:hf sldNum="0" hdr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9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8" name="Rectangle 7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693332"/>
            <a:ext cx="3860259" cy="173566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2" y="1143000"/>
            <a:ext cx="3227192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5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72C73-2D91-4E12-BA25-F0AA0C03599B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890007"/>
      </p:ext>
    </p:extLst>
  </p:cSld>
  <p:clrMapOvr>
    <a:masterClrMapping/>
  </p:clrMapOvr>
  <p:hf sldNum="0"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965945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6" y="5532683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smtClean="0"/>
              <a:pPr/>
              <a:t>9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578034"/>
      </p:ext>
    </p:extLst>
  </p:cSld>
  <p:clrMapOvr>
    <a:masterClrMapping/>
  </p:clrMapOvr>
  <p:hf sldNum="0"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Oval 10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Oval 11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9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063416"/>
            <a:ext cx="8825659" cy="1379755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smtClean="0"/>
              <a:pPr/>
              <a:t>9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92936"/>
      </p:ext>
    </p:extLst>
  </p:cSld>
  <p:clrMapOvr>
    <a:masterClrMapping/>
  </p:clrMapOvr>
  <p:hf sldNum="0"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6" name="Rectangle 15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1" name="TextBox 10"/>
          <p:cNvSpPr txBox="1"/>
          <p:nvPr/>
        </p:nvSpPr>
        <p:spPr bwMode="gray">
          <a:xfrm>
            <a:off x="898295" y="603589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z="9600" dirty="0"/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705137" y="2613787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z="9600" dirty="0"/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980517"/>
            <a:ext cx="8460983" cy="2705034"/>
          </a:xfrm>
        </p:spPr>
        <p:txBody>
          <a:bodyPr anchor="ctr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86515"/>
            <a:ext cx="7725772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/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14393"/>
            <a:ext cx="8825659" cy="1012664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smtClean="0"/>
              <a:pPr/>
              <a:t>9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43830"/>
      </p:ext>
    </p:extLst>
  </p:cSld>
  <p:clrMapOvr>
    <a:masterClrMapping/>
  </p:clrMapOvr>
  <p:hf sldNum="0"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544DB-D5DE-4294-A46D-6C9331DC63A4}" type="datetime1">
              <a:rPr lang="sk-SK" smtClean="0"/>
              <a:t>18. 9. 2018</a:t>
            </a:fld>
            <a:endParaRPr lang="sk-S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729631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Rectangle 9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Oval 10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2404477"/>
            <a:ext cx="8825659" cy="178870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8587" y="5024967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smtClean="0"/>
              <a:pPr/>
              <a:t>9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669514"/>
      </p:ext>
    </p:extLst>
  </p:cSld>
  <p:clrMapOvr>
    <a:masterClrMapping/>
  </p:clrMapOvr>
  <p:hf sldNum="0"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1154954" y="947920"/>
            <a:ext cx="8761413" cy="7284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10999"/>
            <a:ext cx="312916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4" y="3187261"/>
            <a:ext cx="3129168" cy="283979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10999"/>
            <a:ext cx="314538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87261"/>
            <a:ext cx="3145380" cy="283979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6701" y="2603500"/>
            <a:ext cx="3157448" cy="576261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6700" y="3187261"/>
            <a:ext cx="3161029" cy="2839794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smtClean="0"/>
              <a:pPr/>
              <a:t>9/18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723179"/>
      </p:ext>
    </p:extLst>
  </p:cSld>
  <p:clrMapOvr>
    <a:masterClrMapping/>
  </p:clrMapOvr>
  <p:hf sldNum="0"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20744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2" y="2611246"/>
            <a:ext cx="2691242" cy="1583764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3" y="5109107"/>
            <a:ext cx="3020745" cy="91794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5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3" y="2642840"/>
            <a:ext cx="2691242" cy="155217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68865" y="5109107"/>
            <a:ext cx="3050438" cy="92140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3434" y="4532845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18992"/>
            <a:ext cx="2691242" cy="1576018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3434" y="5109107"/>
            <a:ext cx="3054127" cy="896341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4D819-9F07-4261-B09B-9E467E5D9002}" type="datetimeFigureOut">
              <a:rPr lang="en-US" smtClean="0"/>
              <a:pPr/>
              <a:t>9/18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555550"/>
      </p:ext>
    </p:extLst>
  </p:cSld>
  <p:clrMapOvr>
    <a:masterClrMapping/>
  </p:clrMapOvr>
  <p:hf sldNum="0"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154954" y="947920"/>
            <a:ext cx="8761413" cy="7284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6D93-FCAC-47E0-A2EE-787E62CA814C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878400"/>
      </p:ext>
    </p:extLst>
  </p:cSld>
  <p:clrMapOvr>
    <a:masterClrMapping/>
  </p:clrMapOvr>
  <p:hf sldNum="0"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3" name="Rectangle 12"/>
            <p:cNvSpPr/>
            <p:nvPr/>
          </p:nvSpPr>
          <p:spPr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85235" y="1297430"/>
            <a:ext cx="1409965" cy="4729626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97429"/>
            <a:ext cx="6247546" cy="472962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879A6-0FD0-4734-A311-86BFCA472E6E}" type="datetimeFigureOut">
              <a:rPr lang="en-US" smtClean="0"/>
              <a:t>9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781773"/>
      </p:ext>
    </p:extLst>
  </p:cSld>
  <p:clrMapOvr>
    <a:masterClrMapping/>
  </p:clrMapOvr>
  <p:hf sldNum="0"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>
            <a:spLocks/>
          </p:cNvSpPr>
          <p:nvPr userDrawn="1"/>
        </p:nvSpPr>
        <p:spPr>
          <a:xfrm>
            <a:off x="251933" y="1007767"/>
            <a:ext cx="11686157" cy="5578708"/>
          </a:xfrm>
          <a:prstGeom prst="rect">
            <a:avLst/>
          </a:prstGeom>
          <a:solidFill>
            <a:schemeClr val="bg1"/>
          </a:solidFill>
          <a:ln w="3175">
            <a:solidFill>
              <a:srgbClr val="BFC9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9953" tIns="179953" rIns="179953" bIns="179953"/>
          <a:lstStyle/>
          <a:p>
            <a:endParaRPr lang="de-DE" sz="1799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38" y="1259709"/>
            <a:ext cx="9837315" cy="44309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20943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183D94-87E5-47FA-810F-C3B81D3ED666}" type="datetime1">
              <a:rPr lang="sk-SK" smtClean="0"/>
              <a:t>18. 9. 2018</a:t>
            </a:fld>
            <a:endParaRPr lang="sk-S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22530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3C0AD-6EE7-402E-8821-F74FD715615D}" type="datetime1">
              <a:rPr lang="sk-SK" smtClean="0"/>
              <a:t>18. 9. 2018</a:t>
            </a:fld>
            <a:endParaRPr lang="sk-S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0055547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EA57B-F3BD-4BDE-8784-DD09DAB9DCC0}" type="datetime1">
              <a:rPr lang="sk-SK" smtClean="0"/>
              <a:t>18. 9. 2018</a:t>
            </a:fld>
            <a:endParaRPr lang="sk-S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51408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941613-423F-4EA2-8B83-1245B3314545}" type="datetime1">
              <a:rPr lang="sk-SK" smtClean="0"/>
              <a:t>18. 9. 2018</a:t>
            </a:fld>
            <a:endParaRPr lang="sk-S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Rectangle 6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24412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29B8D-D345-4C27-BF1E-650C5A136093}" type="datetime1">
              <a:rPr lang="sk-SK" smtClean="0"/>
              <a:t>18. 9. 2018</a:t>
            </a:fld>
            <a:endParaRPr lang="sk-S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569338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sk-SK"/>
              <a:t>Kliknutím na ikonu pridáte obrázok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45888-B29B-49F4-A136-07EB46530E05}" type="datetime1">
              <a:rPr lang="sk-SK" smtClean="0"/>
              <a:t>18. 9. 2018</a:t>
            </a:fld>
            <a:endParaRPr lang="sk-S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247653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7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19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sk-SK"/>
              <a:t>Kliknutím upravte štýl predlohy nadpis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3104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6532D8B0-0B73-46B5-A127-802150499280}" type="datetime1">
              <a:rPr lang="sk-SK" smtClean="0"/>
              <a:t>18. 9. 2018</a:t>
            </a:fld>
            <a:endParaRPr lang="sk-S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chemeClr val="accent1"/>
                </a:solidFill>
              </a:defRPr>
            </a:lvl1pPr>
          </a:lstStyle>
          <a:p>
            <a:endParaRPr lang="sk-SK"/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42251CF9-C5C1-4C02-906F-0F7A2A4E06B5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31652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5" name="Rectangle 14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2">
                <a:duotone>
                  <a:schemeClr val="dk2">
                    <a:shade val="42000"/>
                    <a:hueMod val="42000"/>
                    <a:satMod val="124000"/>
                    <a:lumMod val="62000"/>
                  </a:schemeClr>
                  <a:schemeClr val="dk2">
                    <a:tint val="96000"/>
                    <a:satMod val="130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41" name="Oval 40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9" name="Oval 3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1587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4000"/>
                  </a:schemeClr>
                </a:gs>
                <a:gs pos="73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8" name="Oval 3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9" name="Oval 48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1000"/>
                  </a:schemeClr>
                </a:gs>
                <a:gs pos="75000">
                  <a:schemeClr val="accent1">
                    <a:lumMod val="60000"/>
                    <a:lumOff val="40000"/>
                    <a:alpha val="0"/>
                  </a:schemeClr>
                </a:gs>
                <a:gs pos="36000">
                  <a:schemeClr val="accent1">
                    <a:lumMod val="60000"/>
                    <a:lumOff val="40000"/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5239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  <a:alpha val="10000"/>
                  </a:schemeClr>
                </a:gs>
                <a:gs pos="66000">
                  <a:schemeClr val="accent1">
                    <a:lumMod val="60000"/>
                    <a:lumOff val="40000"/>
                    <a:alpha val="0"/>
                  </a:schemeClr>
                </a:gs>
                <a:gs pos="31000">
                  <a:schemeClr val="accent1">
                    <a:lumMod val="60000"/>
                    <a:lumOff val="40000"/>
                    <a:alpha val="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6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9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47920"/>
            <a:ext cx="8761413" cy="7284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9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
             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0938" y="6394407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564B320A-89BA-47B2-A525-92E8D10B06E4}" type="datetimeFigureOut">
              <a:rPr lang="en-US" dirty="0"/>
              <a:t>9/18/2018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10443728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graphicFrame>
        <p:nvGraphicFramePr>
          <p:cNvPr id="22" name="Objekt 6" hidden="1">
            <a:extLst>
              <a:ext uri="{FF2B5EF4-FFF2-40B4-BE49-F238E27FC236}">
                <a16:creationId xmlns:a16="http://schemas.microsoft.com/office/drawing/2014/main" id="{77FED025-39DF-4579-8124-2630BBA4E0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22" name="Objekt 6" hidden="1">
                        <a:extLst>
                          <a:ext uri="{FF2B5EF4-FFF2-40B4-BE49-F238E27FC236}">
                            <a16:creationId xmlns:a16="http://schemas.microsoft.com/office/drawing/2014/main" id="{77FED025-39DF-4579-8124-2630BBA4E0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9596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</p:sldLayoutIdLst>
  <p:hf sldNum="0" hdr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tracelink.com/" TargetMode="Externa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mvs-connect.com/" TargetMode="Externa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adpis 7">
            <a:extLst>
              <a:ext uri="{FF2B5EF4-FFF2-40B4-BE49-F238E27FC236}">
                <a16:creationId xmlns:a16="http://schemas.microsoft.com/office/drawing/2014/main" id="{2B008548-5FFF-40EA-AEF5-9B539E7AE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SOOL</a:t>
            </a:r>
            <a:endParaRPr lang="sk-SK" dirty="0"/>
          </a:p>
        </p:txBody>
      </p:sp>
      <p:pic>
        <p:nvPicPr>
          <p:cNvPr id="10" name="Obrázok 9">
            <a:extLst>
              <a:ext uri="{FF2B5EF4-FFF2-40B4-BE49-F238E27FC236}">
                <a16:creationId xmlns:a16="http://schemas.microsoft.com/office/drawing/2014/main" id="{03D21BD0-E1C8-48CC-8D2D-DBDF1E89B3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2540" y="5827285"/>
            <a:ext cx="1267100" cy="548348"/>
          </a:xfrm>
          <a:prstGeom prst="rect">
            <a:avLst/>
          </a:prstGeom>
        </p:spPr>
      </p:pic>
      <p:sp>
        <p:nvSpPr>
          <p:cNvPr id="2" name="Zástupný objekt pre číslo snímky 1">
            <a:extLst>
              <a:ext uri="{FF2B5EF4-FFF2-40B4-BE49-F238E27FC236}">
                <a16:creationId xmlns:a16="http://schemas.microsoft.com/office/drawing/2014/main" id="{90C453BB-9D50-450F-AD2B-F36C87155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1</a:t>
            </a:fld>
            <a:endParaRPr lang="sk-SK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334763-4D85-43B6-81CE-9F30EDAA2330}"/>
              </a:ext>
            </a:extLst>
          </p:cNvPr>
          <p:cNvSpPr txBox="1"/>
          <p:nvPr/>
        </p:nvSpPr>
        <p:spPr>
          <a:xfrm>
            <a:off x="2030136" y="2768367"/>
            <a:ext cx="804504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err="1"/>
              <a:t>Semin</a:t>
            </a:r>
            <a:r>
              <a:rPr lang="sk-SK" sz="2400" b="1" dirty="0"/>
              <a:t>ár pre poskytovateľov softvéru pre lekárne a distribútorov liekov</a:t>
            </a:r>
          </a:p>
          <a:p>
            <a:pPr algn="ctr"/>
            <a:endParaRPr lang="sk-SK" dirty="0"/>
          </a:p>
          <a:p>
            <a:pPr algn="ctr"/>
            <a:endParaRPr lang="sk-SK" dirty="0"/>
          </a:p>
          <a:p>
            <a:pPr algn="ctr"/>
            <a:endParaRPr lang="sk-SK" dirty="0"/>
          </a:p>
          <a:p>
            <a:pPr algn="ctr"/>
            <a:r>
              <a:rPr lang="sk-SK" dirty="0"/>
              <a:t>18/02/2018</a:t>
            </a:r>
          </a:p>
          <a:p>
            <a:pPr algn="ctr"/>
            <a:r>
              <a:rPr lang="sk-SK" dirty="0"/>
              <a:t>Bratislava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0C9196-8B1F-4348-9C8A-B4693AEA1618}"/>
              </a:ext>
            </a:extLst>
          </p:cNvPr>
          <p:cNvSpPr txBox="1"/>
          <p:nvPr/>
        </p:nvSpPr>
        <p:spPr>
          <a:xfrm>
            <a:off x="671119" y="5944746"/>
            <a:ext cx="234052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100" dirty="0"/>
              <a:t>Roman Guba</a:t>
            </a:r>
          </a:p>
          <a:p>
            <a:r>
              <a:rPr lang="sk-SK" sz="1100" dirty="0"/>
              <a:t>VR SOOL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1355447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4028A-77B6-4819-92BE-5DAA37FB7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333EBA-813D-4062-9142-440E67A33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10</a:t>
            </a:fld>
            <a:endParaRPr lang="sk-S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32F42C-CE23-4222-8192-D40FC74D58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619" y="0"/>
            <a:ext cx="1160076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081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5A4B6-0761-48E9-8AE4-CBD713F34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4954" y="973668"/>
            <a:ext cx="9828479" cy="706964"/>
          </a:xfrm>
        </p:spPr>
        <p:txBody>
          <a:bodyPr/>
          <a:lstStyle/>
          <a:p>
            <a:r>
              <a:rPr lang="sk-SK" sz="2800" dirty="0"/>
              <a:t>Štatistika SK SW poskytovateľov v ARVATO </a:t>
            </a:r>
            <a:r>
              <a:rPr lang="sk-SK" sz="2800" dirty="0" err="1"/>
              <a:t>Sandboxe</a:t>
            </a:r>
            <a:endParaRPr lang="en-US" sz="2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6E92D7-F937-4669-9945-34BB8CF6E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11</a:t>
            </a:fld>
            <a:endParaRPr lang="sk-S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791AF7-208F-4596-BB1E-8A51E52FAF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465" y="1860697"/>
            <a:ext cx="11249247" cy="4740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9860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9119CE-5D62-4914-829A-643A1C7AF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Aktuálne verzie SK - NMV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4FB9F5-C4D7-4EEF-83B4-2BDAAB2F1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12</a:t>
            </a:fld>
            <a:endParaRPr lang="sk-SK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1C3C81-12BF-4E71-869D-EA11683F855F}"/>
              </a:ext>
            </a:extLst>
          </p:cNvPr>
          <p:cNvSpPr txBox="1"/>
          <p:nvPr/>
        </p:nvSpPr>
        <p:spPr>
          <a:xfrm>
            <a:off x="1154954" y="2563905"/>
            <a:ext cx="971923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Aktuálna verzia SK NMVS </a:t>
            </a:r>
            <a:r>
              <a:rPr lang="en-US" dirty="0"/>
              <a:t> </a:t>
            </a:r>
            <a:r>
              <a:rPr lang="sk-SK" dirty="0"/>
              <a:t>je </a:t>
            </a:r>
            <a:r>
              <a:rPr lang="en-US" dirty="0"/>
              <a:t>1.01.008.3 (08-2018)</a:t>
            </a:r>
            <a:r>
              <a:rPr lang="sk-SK" dirty="0"/>
              <a:t> v IQE a v PR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ARVATO </a:t>
            </a:r>
            <a:r>
              <a:rPr lang="sk-SK" dirty="0" err="1"/>
              <a:t>Sandbox</a:t>
            </a:r>
            <a:r>
              <a:rPr lang="sk-SK" dirty="0"/>
              <a:t> používa tiež verziu </a:t>
            </a:r>
            <a:r>
              <a:rPr lang="en-US" dirty="0"/>
              <a:t>1.01.008.3</a:t>
            </a:r>
            <a:r>
              <a:rPr lang="sk-SK" dirty="0"/>
              <a:t>, ale verzia </a:t>
            </a:r>
            <a:r>
              <a:rPr lang="en-US" dirty="0"/>
              <a:t>1.01.008.</a:t>
            </a:r>
            <a:r>
              <a:rPr lang="sk-SK" dirty="0"/>
              <a:t>1 je tiež k </a:t>
            </a:r>
            <a:r>
              <a:rPr lang="sk-SK" dirty="0" err="1"/>
              <a:t>dispozíii</a:t>
            </a:r>
            <a:endParaRPr lang="sk-S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EÚ HUB beží vo verzii 1.4 v IQE a v  P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ARVATO garantuje spätnú kompatibilitu web služieb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seline testing – v </a:t>
            </a:r>
            <a:r>
              <a:rPr lang="en-US" dirty="0" err="1"/>
              <a:t>Sandboxe</a:t>
            </a:r>
            <a:r>
              <a:rPr lang="en-US" dirty="0"/>
              <a:t> </a:t>
            </a:r>
            <a:r>
              <a:rPr lang="en-US" dirty="0" err="1"/>
              <a:t>verzia</a:t>
            </a:r>
            <a:r>
              <a:rPr lang="en-US" dirty="0"/>
              <a:t> 1.01.008.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Nová verzia SK NMVS 1.</a:t>
            </a:r>
            <a:r>
              <a:rPr lang="en-US" dirty="0"/>
              <a:t>0</a:t>
            </a:r>
            <a:r>
              <a:rPr lang="sk-SK" dirty="0"/>
              <a:t>2 je plánovaná na  11</a:t>
            </a:r>
            <a:r>
              <a:rPr lang="en-US" dirty="0"/>
              <a:t>/2018</a:t>
            </a:r>
            <a:endParaRPr lang="sk-SK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6631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C8797-8686-4966-87A0-5C329D787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437E30-95F9-44A8-832D-71042BC1E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13</a:t>
            </a:fld>
            <a:endParaRPr lang="sk-S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9C3FD7-C2DD-4FE4-B601-D57C05EF31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958" y="0"/>
            <a:ext cx="11929729" cy="6741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403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82F799B-67AD-49B1-9BA9-1589DEE2D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Agenda</a:t>
            </a:r>
          </a:p>
        </p:txBody>
      </p:sp>
      <p:sp>
        <p:nvSpPr>
          <p:cNvPr id="3" name="Zástupný objekt pre číslo snímky 2">
            <a:extLst>
              <a:ext uri="{FF2B5EF4-FFF2-40B4-BE49-F238E27FC236}">
                <a16:creationId xmlns:a16="http://schemas.microsoft.com/office/drawing/2014/main" id="{CD9CBE61-EE72-4B56-9090-7D3FC8478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14</a:t>
            </a:fld>
            <a:endParaRPr lang="sk-S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6E5800-F457-4CB5-A50F-B39BED03516D}"/>
              </a:ext>
            </a:extLst>
          </p:cNvPr>
          <p:cNvSpPr/>
          <p:nvPr/>
        </p:nvSpPr>
        <p:spPr>
          <a:xfrm>
            <a:off x="1588315" y="2404462"/>
            <a:ext cx="8864367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dirty="0"/>
              <a:t>10:00  -&gt;  Privítanie a prezentácia aktuálneho stavu projektu FMD</a:t>
            </a:r>
          </a:p>
          <a:p>
            <a:r>
              <a:rPr lang="sk-SK" dirty="0"/>
              <a:t>10:30  -&gt;  </a:t>
            </a:r>
            <a:r>
              <a:rPr lang="en-US" dirty="0" err="1"/>
              <a:t>Tracelink</a:t>
            </a:r>
            <a:r>
              <a:rPr lang="en-US" dirty="0"/>
              <a:t> EU FMD Compliance Offering</a:t>
            </a:r>
            <a:r>
              <a:rPr lang="sk-SK" dirty="0"/>
              <a:t> – ukážka riešenia</a:t>
            </a:r>
          </a:p>
          <a:p>
            <a:r>
              <a:rPr lang="sk-SK" dirty="0"/>
              <a:t>11:00 -&gt;   NMVS </a:t>
            </a:r>
            <a:r>
              <a:rPr lang="sk-SK" dirty="0" err="1"/>
              <a:t>Connect</a:t>
            </a:r>
            <a:r>
              <a:rPr lang="sk-SK" dirty="0"/>
              <a:t> – ukážka </a:t>
            </a:r>
            <a:r>
              <a:rPr lang="sk-SK" dirty="0" err="1"/>
              <a:t>standalone</a:t>
            </a:r>
            <a:r>
              <a:rPr lang="sk-SK" dirty="0"/>
              <a:t> riešenia</a:t>
            </a:r>
          </a:p>
          <a:p>
            <a:r>
              <a:rPr lang="sk-SK" dirty="0"/>
              <a:t>11:15  -&gt;  Proces pripojenia  verifikácie SK-NMVS</a:t>
            </a:r>
          </a:p>
          <a:p>
            <a:r>
              <a:rPr lang="sk-SK" dirty="0"/>
              <a:t>                Pripojenie koncových užívateľov do SK-NMVS</a:t>
            </a:r>
          </a:p>
          <a:p>
            <a:r>
              <a:rPr lang="sk-SK" dirty="0"/>
              <a:t>12:00  -</a:t>
            </a:r>
            <a:r>
              <a:rPr lang="en-US" dirty="0"/>
              <a:t>&gt;  </a:t>
            </a:r>
            <a:r>
              <a:rPr lang="sk-SK" dirty="0"/>
              <a:t>P</a:t>
            </a:r>
            <a:r>
              <a:rPr lang="en-US" dirty="0"/>
              <a:t>rest</a:t>
            </a:r>
            <a:r>
              <a:rPr lang="sk-SK" dirty="0"/>
              <a:t>á</a:t>
            </a:r>
            <a:r>
              <a:rPr lang="en-US" dirty="0" err="1"/>
              <a:t>vka</a:t>
            </a:r>
            <a:endParaRPr lang="sk-SK" dirty="0"/>
          </a:p>
          <a:p>
            <a:r>
              <a:rPr lang="sk-SK" dirty="0"/>
              <a:t>12:15  -&gt;  </a:t>
            </a:r>
            <a:r>
              <a:rPr lang="sk-SK" dirty="0" err="1"/>
              <a:t>Baseline</a:t>
            </a:r>
            <a:r>
              <a:rPr lang="sk-SK" dirty="0"/>
              <a:t> </a:t>
            </a:r>
            <a:r>
              <a:rPr lang="sk-SK" dirty="0" err="1"/>
              <a:t>Testing</a:t>
            </a:r>
            <a:endParaRPr lang="sk-SK" dirty="0"/>
          </a:p>
          <a:p>
            <a:r>
              <a:rPr lang="sk-SK" dirty="0"/>
              <a:t>13:15  -&gt;  Diskusia</a:t>
            </a:r>
          </a:p>
          <a:p>
            <a:r>
              <a:rPr lang="sk-SK" dirty="0"/>
              <a:t>13:45  -&gt; Ukončenie seminára</a:t>
            </a:r>
          </a:p>
        </p:txBody>
      </p:sp>
    </p:spTree>
    <p:extLst>
      <p:ext uri="{BB962C8B-B14F-4D97-AF65-F5344CB8AC3E}">
        <p14:creationId xmlns:p14="http://schemas.microsoft.com/office/powerpoint/2010/main" val="19331121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4E3BEA3-DA6D-4ADF-B006-953951713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/>
              <a:t>Tracelink</a:t>
            </a:r>
            <a:r>
              <a:rPr lang="en-US" dirty="0"/>
              <a:t> EU FMD Compliance Offering</a:t>
            </a:r>
            <a:r>
              <a:rPr lang="sk-SK" dirty="0"/>
              <a:t> – ukážka riešenia</a:t>
            </a:r>
          </a:p>
        </p:txBody>
      </p:sp>
      <p:sp>
        <p:nvSpPr>
          <p:cNvPr id="3" name="Zástupný objekt pre číslo snímky 2">
            <a:extLst>
              <a:ext uri="{FF2B5EF4-FFF2-40B4-BE49-F238E27FC236}">
                <a16:creationId xmlns:a16="http://schemas.microsoft.com/office/drawing/2014/main" id="{6EE21AC9-8797-4B88-BACE-91B9FEC8F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15</a:t>
            </a:fld>
            <a:endParaRPr lang="sk-SK"/>
          </a:p>
        </p:txBody>
      </p:sp>
      <p:sp>
        <p:nvSpPr>
          <p:cNvPr id="4" name="BlokTextu 3">
            <a:extLst>
              <a:ext uri="{FF2B5EF4-FFF2-40B4-BE49-F238E27FC236}">
                <a16:creationId xmlns:a16="http://schemas.microsoft.com/office/drawing/2014/main" id="{DDF4793D-388C-4F4F-A972-22490B5FF5EA}"/>
              </a:ext>
            </a:extLst>
          </p:cNvPr>
          <p:cNvSpPr txBox="1"/>
          <p:nvPr/>
        </p:nvSpPr>
        <p:spPr>
          <a:xfrm>
            <a:off x="1154954" y="2782669"/>
            <a:ext cx="84882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</a:t>
            </a:r>
            <a:r>
              <a:rPr lang="sk-SK" dirty="0" err="1"/>
              <a:t>dkaz</a:t>
            </a:r>
            <a:r>
              <a:rPr lang="en-US" dirty="0"/>
              <a:t> </a:t>
            </a:r>
            <a:r>
              <a:rPr lang="sk-SK" dirty="0"/>
              <a:t>na</a:t>
            </a:r>
            <a:r>
              <a:rPr lang="en-US" dirty="0"/>
              <a:t> </a:t>
            </a:r>
            <a:r>
              <a:rPr lang="sk-SK" dirty="0"/>
              <a:t>spoločnosť, ktorá prezentoval riešenie pre koncových užívateľov</a:t>
            </a:r>
          </a:p>
          <a:p>
            <a:r>
              <a:rPr lang="sk-SK" dirty="0"/>
              <a:t>- </a:t>
            </a:r>
            <a:r>
              <a:rPr lang="sk-SK" dirty="0">
                <a:hlinkClick r:id="rId2"/>
              </a:rPr>
              <a:t>https://www.tracelink.com/</a:t>
            </a:r>
            <a:r>
              <a:rPr lang="sk-S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7809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5DE806-C37D-420D-95B7-7D789D96C6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k-SK" dirty="0"/>
              <a:t>NMVS Connect – ukážka </a:t>
            </a:r>
            <a:r>
              <a:rPr lang="sk-SK" dirty="0" err="1"/>
              <a:t>standalone</a:t>
            </a:r>
            <a:r>
              <a:rPr lang="sk-SK" dirty="0"/>
              <a:t> riešenia</a:t>
            </a:r>
          </a:p>
        </p:txBody>
      </p:sp>
      <p:sp>
        <p:nvSpPr>
          <p:cNvPr id="3" name="Zástupný objekt pre číslo snímky 2">
            <a:extLst>
              <a:ext uri="{FF2B5EF4-FFF2-40B4-BE49-F238E27FC236}">
                <a16:creationId xmlns:a16="http://schemas.microsoft.com/office/drawing/2014/main" id="{CB2B2612-8FFC-46CB-9593-1E283C09D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16</a:t>
            </a:fld>
            <a:endParaRPr lang="sk-SK"/>
          </a:p>
        </p:txBody>
      </p:sp>
      <p:sp>
        <p:nvSpPr>
          <p:cNvPr id="4" name="BlokTextu 3">
            <a:extLst>
              <a:ext uri="{FF2B5EF4-FFF2-40B4-BE49-F238E27FC236}">
                <a16:creationId xmlns:a16="http://schemas.microsoft.com/office/drawing/2014/main" id="{CE7EE2F8-B98E-4EF8-96CC-F0AF356F0B4C}"/>
              </a:ext>
            </a:extLst>
          </p:cNvPr>
          <p:cNvSpPr txBox="1"/>
          <p:nvPr/>
        </p:nvSpPr>
        <p:spPr>
          <a:xfrm>
            <a:off x="1154954" y="2782669"/>
            <a:ext cx="731642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/>
              <a:t>Odkaz</a:t>
            </a:r>
            <a:r>
              <a:rPr lang="en-US" dirty="0"/>
              <a:t> </a:t>
            </a:r>
            <a:r>
              <a:rPr lang="sk-SK" dirty="0"/>
              <a:t>na</a:t>
            </a:r>
            <a:r>
              <a:rPr lang="en-US" dirty="0"/>
              <a:t> </a:t>
            </a:r>
            <a:r>
              <a:rPr lang="sk-SK" dirty="0"/>
              <a:t>spoločnosť, ktorej riešenie samostatného systému pre </a:t>
            </a:r>
          </a:p>
          <a:p>
            <a:r>
              <a:rPr lang="sk-SK" dirty="0"/>
              <a:t>koncových užívateľov bolo prezentované:</a:t>
            </a:r>
          </a:p>
          <a:p>
            <a:r>
              <a:rPr lang="sk-SK" dirty="0"/>
              <a:t>- </a:t>
            </a:r>
            <a:r>
              <a:rPr lang="sk-SK" dirty="0">
                <a:hlinkClick r:id="rId2"/>
              </a:rPr>
              <a:t>https://www.nmvs-connect.com/</a:t>
            </a:r>
            <a:r>
              <a:rPr lang="sk-S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149832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82F799B-67AD-49B1-9BA9-1589DEE2D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Agenda</a:t>
            </a:r>
          </a:p>
        </p:txBody>
      </p:sp>
      <p:sp>
        <p:nvSpPr>
          <p:cNvPr id="3" name="Zástupný objekt pre číslo snímky 2">
            <a:extLst>
              <a:ext uri="{FF2B5EF4-FFF2-40B4-BE49-F238E27FC236}">
                <a16:creationId xmlns:a16="http://schemas.microsoft.com/office/drawing/2014/main" id="{CD9CBE61-EE72-4B56-9090-7D3FC8478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2</a:t>
            </a:fld>
            <a:endParaRPr lang="sk-S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6E5800-F457-4CB5-A50F-B39BED03516D}"/>
              </a:ext>
            </a:extLst>
          </p:cNvPr>
          <p:cNvSpPr/>
          <p:nvPr/>
        </p:nvSpPr>
        <p:spPr>
          <a:xfrm>
            <a:off x="1588315" y="2404462"/>
            <a:ext cx="8864367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dirty="0"/>
              <a:t>10:00  -&gt;  Privítanie a prezentácia aktuálneho stavu projektu FMD</a:t>
            </a:r>
          </a:p>
          <a:p>
            <a:r>
              <a:rPr lang="sk-SK" dirty="0"/>
              <a:t>10:30  -&gt;  </a:t>
            </a:r>
            <a:r>
              <a:rPr lang="en-US" dirty="0" err="1"/>
              <a:t>Tracelink</a:t>
            </a:r>
            <a:r>
              <a:rPr lang="en-US" dirty="0"/>
              <a:t> EU FMD Compliance Offering</a:t>
            </a:r>
            <a:r>
              <a:rPr lang="sk-SK" dirty="0"/>
              <a:t> – ukážka riešenia</a:t>
            </a:r>
          </a:p>
          <a:p>
            <a:r>
              <a:rPr lang="sk-SK" dirty="0"/>
              <a:t>11:00 -&gt;   NMVS </a:t>
            </a:r>
            <a:r>
              <a:rPr lang="sk-SK" dirty="0" err="1"/>
              <a:t>Connect</a:t>
            </a:r>
            <a:r>
              <a:rPr lang="sk-SK" dirty="0"/>
              <a:t> – ukážka </a:t>
            </a:r>
            <a:r>
              <a:rPr lang="sk-SK" dirty="0" err="1"/>
              <a:t>standalone</a:t>
            </a:r>
            <a:r>
              <a:rPr lang="sk-SK" dirty="0"/>
              <a:t> riešenia</a:t>
            </a:r>
          </a:p>
          <a:p>
            <a:r>
              <a:rPr lang="sk-SK" dirty="0"/>
              <a:t>11:15  -&gt;  Proces pripojenia  verifikácie SK-NMVS</a:t>
            </a:r>
          </a:p>
          <a:p>
            <a:r>
              <a:rPr lang="sk-SK" dirty="0"/>
              <a:t>                Pripojenie koncových užívateľov do SK-NMVS</a:t>
            </a:r>
          </a:p>
          <a:p>
            <a:r>
              <a:rPr lang="sk-SK" dirty="0"/>
              <a:t>12:00  -</a:t>
            </a:r>
            <a:r>
              <a:rPr lang="en-US" dirty="0"/>
              <a:t>&gt;  </a:t>
            </a:r>
            <a:r>
              <a:rPr lang="sk-SK" dirty="0"/>
              <a:t>P</a:t>
            </a:r>
            <a:r>
              <a:rPr lang="en-US" dirty="0"/>
              <a:t>rest</a:t>
            </a:r>
            <a:r>
              <a:rPr lang="sk-SK" dirty="0"/>
              <a:t>á</a:t>
            </a:r>
            <a:r>
              <a:rPr lang="en-US" dirty="0" err="1"/>
              <a:t>vka</a:t>
            </a:r>
            <a:endParaRPr lang="sk-SK" dirty="0"/>
          </a:p>
          <a:p>
            <a:r>
              <a:rPr lang="sk-SK" dirty="0"/>
              <a:t>12:15  -&gt;  </a:t>
            </a:r>
            <a:r>
              <a:rPr lang="sk-SK" dirty="0" err="1"/>
              <a:t>Baseline</a:t>
            </a:r>
            <a:r>
              <a:rPr lang="sk-SK" dirty="0"/>
              <a:t> </a:t>
            </a:r>
            <a:r>
              <a:rPr lang="sk-SK" dirty="0" err="1"/>
              <a:t>Testing</a:t>
            </a:r>
            <a:endParaRPr lang="sk-SK" dirty="0"/>
          </a:p>
          <a:p>
            <a:r>
              <a:rPr lang="sk-SK" dirty="0"/>
              <a:t>13:15  -&gt;  Diskusia</a:t>
            </a:r>
          </a:p>
          <a:p>
            <a:r>
              <a:rPr lang="sk-SK" dirty="0"/>
              <a:t>13:45  -&gt; Ukončenie seminára</a:t>
            </a:r>
          </a:p>
        </p:txBody>
      </p:sp>
    </p:spTree>
    <p:extLst>
      <p:ext uri="{BB962C8B-B14F-4D97-AF65-F5344CB8AC3E}">
        <p14:creationId xmlns:p14="http://schemas.microsoft.com/office/powerpoint/2010/main" val="31887669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61BD716-D00B-4BA6-A3A0-FE7113987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k-SK" dirty="0" err="1"/>
              <a:t>Aktuány</a:t>
            </a:r>
            <a:r>
              <a:rPr lang="sk-SK" dirty="0"/>
              <a:t> stav projektu</a:t>
            </a:r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E5A91C00-3831-4C30-AC90-362F14AA7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3</a:t>
            </a:fld>
            <a:endParaRPr lang="sk-SK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76127D-B69F-4657-9EA7-83212C1FDD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8462" y="3139443"/>
            <a:ext cx="4492812" cy="33696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67D6CF-7FC3-419D-A193-A7F9713389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1587" y="3047999"/>
            <a:ext cx="6633786" cy="2491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5203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1919" y="590618"/>
            <a:ext cx="6345260" cy="709865"/>
          </a:xfrm>
        </p:spPr>
        <p:txBody>
          <a:bodyPr>
            <a:noAutofit/>
          </a:bodyPr>
          <a:lstStyle/>
          <a:p>
            <a:r>
              <a:rPr lang="en-GB" sz="2400" dirty="0"/>
              <a:t>EMVS </a:t>
            </a:r>
            <a:r>
              <a:rPr lang="sk-SK" sz="2400" dirty="0"/>
              <a:t>– koncept riešenia</a:t>
            </a:r>
            <a:endParaRPr lang="en-GB" sz="2400" dirty="0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20D28A2C-191C-42F1-AC9C-3A22637BD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107CDE-7849-4157-8121-586041AABAC9}" type="slidenum">
              <a:rPr lang="en-US" smtClean="0"/>
              <a:t>4</a:t>
            </a:fld>
            <a:endParaRPr lang="en-US" dirty="0"/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4831" y="1838586"/>
            <a:ext cx="6153922" cy="4020299"/>
          </a:xfrm>
          <a:prstGeom prst="rect">
            <a:avLst/>
          </a:prstGeom>
        </p:spPr>
      </p:pic>
      <p:sp>
        <p:nvSpPr>
          <p:cNvPr id="40" name="Rounded Rectangle 32"/>
          <p:cNvSpPr/>
          <p:nvPr/>
        </p:nvSpPr>
        <p:spPr bwMode="auto">
          <a:xfrm>
            <a:off x="5921001" y="5284311"/>
            <a:ext cx="954947" cy="442031"/>
          </a:xfrm>
          <a:prstGeom prst="round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ctr" defTabSz="84435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108" dirty="0">
                <a:solidFill>
                  <a:schemeClr val="bg1"/>
                </a:solidFill>
                <a:latin typeface="Arial" pitchFamily="-110" charset="0"/>
              </a:rPr>
              <a:t>Pharmacy</a:t>
            </a:r>
            <a:br>
              <a:rPr lang="en-GB" sz="1108" dirty="0">
                <a:solidFill>
                  <a:schemeClr val="bg1"/>
                </a:solidFill>
                <a:latin typeface="Arial" pitchFamily="-110" charset="0"/>
              </a:rPr>
            </a:br>
            <a:r>
              <a:rPr lang="en-GB" sz="1108" dirty="0">
                <a:solidFill>
                  <a:schemeClr val="bg1"/>
                </a:solidFill>
                <a:latin typeface="Arial" pitchFamily="-110" charset="0"/>
              </a:rPr>
              <a:t>System</a:t>
            </a:r>
          </a:p>
        </p:txBody>
      </p:sp>
      <p:sp>
        <p:nvSpPr>
          <p:cNvPr id="51" name="Rounded Rectangle 34"/>
          <p:cNvSpPr/>
          <p:nvPr/>
        </p:nvSpPr>
        <p:spPr bwMode="auto">
          <a:xfrm>
            <a:off x="7805330" y="5279263"/>
            <a:ext cx="955266" cy="442031"/>
          </a:xfrm>
          <a:prstGeom prst="round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ctr" defTabSz="84435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108" dirty="0">
                <a:solidFill>
                  <a:schemeClr val="bg1"/>
                </a:solidFill>
                <a:latin typeface="Arial" pitchFamily="-110" charset="0"/>
              </a:rPr>
              <a:t>Wholesaler</a:t>
            </a:r>
            <a:br>
              <a:rPr lang="en-GB" sz="1108" dirty="0">
                <a:solidFill>
                  <a:schemeClr val="bg1"/>
                </a:solidFill>
                <a:latin typeface="Arial" pitchFamily="-110" charset="0"/>
              </a:rPr>
            </a:br>
            <a:r>
              <a:rPr lang="en-GB" sz="1108" dirty="0">
                <a:solidFill>
                  <a:schemeClr val="bg1"/>
                </a:solidFill>
                <a:latin typeface="Arial" pitchFamily="-110" charset="0"/>
              </a:rPr>
              <a:t>System</a:t>
            </a:r>
          </a:p>
        </p:txBody>
      </p:sp>
      <p:sp>
        <p:nvSpPr>
          <p:cNvPr id="52" name="Rounded Rectangle 16"/>
          <p:cNvSpPr/>
          <p:nvPr/>
        </p:nvSpPr>
        <p:spPr bwMode="auto">
          <a:xfrm>
            <a:off x="2490783" y="2083852"/>
            <a:ext cx="963192" cy="438856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ctr" defTabSz="84435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108" dirty="0">
                <a:solidFill>
                  <a:schemeClr val="bg1"/>
                </a:solidFill>
                <a:latin typeface="Arial" pitchFamily="-110" charset="0"/>
              </a:rPr>
              <a:t>Manufacturer</a:t>
            </a:r>
            <a:br>
              <a:rPr lang="en-GB" sz="1108" dirty="0">
                <a:solidFill>
                  <a:schemeClr val="bg1"/>
                </a:solidFill>
                <a:latin typeface="Arial" pitchFamily="-110" charset="0"/>
              </a:rPr>
            </a:br>
            <a:r>
              <a:rPr lang="en-GB" sz="1108" dirty="0">
                <a:solidFill>
                  <a:schemeClr val="bg1"/>
                </a:solidFill>
                <a:latin typeface="Arial" pitchFamily="-110" charset="0"/>
              </a:rPr>
              <a:t>System</a:t>
            </a:r>
          </a:p>
        </p:txBody>
      </p:sp>
      <p:sp>
        <p:nvSpPr>
          <p:cNvPr id="53" name="Rounded Rectangle 23"/>
          <p:cNvSpPr/>
          <p:nvPr/>
        </p:nvSpPr>
        <p:spPr bwMode="auto">
          <a:xfrm>
            <a:off x="8044143" y="2079453"/>
            <a:ext cx="969003" cy="438856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ctr" defTabSz="84435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108" dirty="0">
                <a:solidFill>
                  <a:schemeClr val="bg1"/>
                </a:solidFill>
                <a:latin typeface="Arial" pitchFamily="-110" charset="0"/>
              </a:rPr>
              <a:t>Parallel</a:t>
            </a:r>
            <a:br>
              <a:rPr lang="en-GB" sz="1108" dirty="0">
                <a:solidFill>
                  <a:schemeClr val="bg1"/>
                </a:solidFill>
                <a:latin typeface="Arial" pitchFamily="-110" charset="0"/>
              </a:rPr>
            </a:br>
            <a:r>
              <a:rPr lang="en-GB" sz="1108" dirty="0">
                <a:solidFill>
                  <a:schemeClr val="bg1"/>
                </a:solidFill>
                <a:latin typeface="Arial" pitchFamily="-110" charset="0"/>
              </a:rPr>
              <a:t>Distributer</a:t>
            </a:r>
            <a:br>
              <a:rPr lang="en-GB" sz="1108" dirty="0">
                <a:solidFill>
                  <a:schemeClr val="bg1"/>
                </a:solidFill>
                <a:latin typeface="Arial" pitchFamily="-110" charset="0"/>
              </a:rPr>
            </a:br>
            <a:r>
              <a:rPr lang="en-GB" sz="1108" dirty="0">
                <a:solidFill>
                  <a:schemeClr val="bg1"/>
                </a:solidFill>
                <a:latin typeface="Arial" pitchFamily="-110" charset="0"/>
              </a:rPr>
              <a:t>System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2080639" y="1753131"/>
            <a:ext cx="2040152" cy="1364637"/>
          </a:xfrm>
          <a:prstGeom prst="rect">
            <a:avLst/>
          </a:prstGeom>
          <a:noFill/>
          <a:ln w="34925" cap="flat" cmpd="sng" algn="ctr">
            <a:solidFill>
              <a:srgbClr val="1D992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r" defTabSz="844357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847">
              <a:latin typeface="Arial" pitchFamily="-110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231665" y="2692752"/>
            <a:ext cx="1361881" cy="433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1108" dirty="0">
                <a:solidFill>
                  <a:srgbClr val="1D992A"/>
                </a:solidFill>
              </a:rPr>
              <a:t>Vlastník</a:t>
            </a:r>
            <a:r>
              <a:rPr lang="en-GB" sz="1108" dirty="0">
                <a:solidFill>
                  <a:srgbClr val="1D992A"/>
                </a:solidFill>
              </a:rPr>
              <a:t> = </a:t>
            </a:r>
            <a:r>
              <a:rPr lang="sk-SK" sz="1108" dirty="0">
                <a:solidFill>
                  <a:srgbClr val="1D992A"/>
                </a:solidFill>
              </a:rPr>
              <a:t>Výrobca lieku</a:t>
            </a:r>
            <a:endParaRPr lang="en-GB" sz="1108" dirty="0">
              <a:solidFill>
                <a:srgbClr val="1D992A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217932" y="1743795"/>
            <a:ext cx="1000383" cy="433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1108" dirty="0">
                <a:solidFill>
                  <a:srgbClr val="E98B1A"/>
                </a:solidFill>
              </a:rPr>
              <a:t>Vlastník</a:t>
            </a:r>
            <a:r>
              <a:rPr lang="en-GB" sz="1108" dirty="0">
                <a:solidFill>
                  <a:srgbClr val="E98B1A"/>
                </a:solidFill>
              </a:rPr>
              <a:t> = EMVO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779936" y="2752701"/>
            <a:ext cx="1638994" cy="433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1108" dirty="0">
                <a:solidFill>
                  <a:srgbClr val="1D992A"/>
                </a:solidFill>
              </a:rPr>
              <a:t>Vlastník</a:t>
            </a:r>
            <a:r>
              <a:rPr lang="en-GB" sz="1108" dirty="0">
                <a:solidFill>
                  <a:srgbClr val="1D992A"/>
                </a:solidFill>
              </a:rPr>
              <a:t> = </a:t>
            </a:r>
            <a:r>
              <a:rPr lang="en-GB" sz="1108" dirty="0" err="1">
                <a:solidFill>
                  <a:srgbClr val="1D992A"/>
                </a:solidFill>
              </a:rPr>
              <a:t>Paral</a:t>
            </a:r>
            <a:r>
              <a:rPr lang="sk-SK" sz="1108" dirty="0" err="1">
                <a:solidFill>
                  <a:srgbClr val="1D992A"/>
                </a:solidFill>
              </a:rPr>
              <a:t>elný</a:t>
            </a:r>
            <a:r>
              <a:rPr lang="en-GB" sz="1108" dirty="0">
                <a:solidFill>
                  <a:srgbClr val="1D992A"/>
                </a:solidFill>
              </a:rPr>
              <a:t> </a:t>
            </a:r>
            <a:r>
              <a:rPr lang="en-GB" sz="1108" dirty="0" err="1">
                <a:solidFill>
                  <a:srgbClr val="1D992A"/>
                </a:solidFill>
              </a:rPr>
              <a:t>Distri</a:t>
            </a:r>
            <a:r>
              <a:rPr lang="sk-SK" sz="1108" dirty="0">
                <a:solidFill>
                  <a:srgbClr val="1D992A"/>
                </a:solidFill>
              </a:rPr>
              <a:t>bútor</a:t>
            </a:r>
            <a:endParaRPr lang="en-GB" sz="1108" dirty="0">
              <a:solidFill>
                <a:srgbClr val="1D992A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627750" y="5942012"/>
            <a:ext cx="1713309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1108" dirty="0">
                <a:solidFill>
                  <a:srgbClr val="7030A0"/>
                </a:solidFill>
              </a:rPr>
              <a:t>Vlastník</a:t>
            </a:r>
            <a:r>
              <a:rPr lang="en-GB" sz="1108" dirty="0">
                <a:solidFill>
                  <a:srgbClr val="7030A0"/>
                </a:solidFill>
              </a:rPr>
              <a:t> = </a:t>
            </a:r>
            <a:r>
              <a:rPr lang="sk-SK" sz="1108" dirty="0">
                <a:solidFill>
                  <a:srgbClr val="7030A0"/>
                </a:solidFill>
              </a:rPr>
              <a:t>Lekáreň</a:t>
            </a:r>
            <a:endParaRPr lang="en-GB" sz="1108" dirty="0">
              <a:solidFill>
                <a:srgbClr val="7030A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7341059" y="5923053"/>
            <a:ext cx="1698689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1108" dirty="0">
                <a:solidFill>
                  <a:srgbClr val="7030A0"/>
                </a:solidFill>
              </a:rPr>
              <a:t>Vlastník</a:t>
            </a:r>
            <a:r>
              <a:rPr lang="en-GB" sz="1108" dirty="0">
                <a:solidFill>
                  <a:srgbClr val="7030A0"/>
                </a:solidFill>
              </a:rPr>
              <a:t> = </a:t>
            </a:r>
            <a:r>
              <a:rPr lang="sk-SK" sz="1108" dirty="0">
                <a:solidFill>
                  <a:srgbClr val="7030A0"/>
                </a:solidFill>
              </a:rPr>
              <a:t>Distribútor</a:t>
            </a:r>
            <a:endParaRPr lang="en-GB" sz="1108" dirty="0">
              <a:solidFill>
                <a:srgbClr val="7030A0"/>
              </a:solidFill>
            </a:endParaRPr>
          </a:p>
        </p:txBody>
      </p:sp>
      <p:cxnSp>
        <p:nvCxnSpPr>
          <p:cNvPr id="78" name="Straight Connector 77"/>
          <p:cNvCxnSpPr>
            <a:cxnSpLocks/>
          </p:cNvCxnSpPr>
          <p:nvPr/>
        </p:nvCxnSpPr>
        <p:spPr bwMode="auto">
          <a:xfrm>
            <a:off x="7592037" y="4226414"/>
            <a:ext cx="1225824" cy="115527"/>
          </a:xfrm>
          <a:prstGeom prst="line">
            <a:avLst/>
          </a:prstGeom>
          <a:solidFill>
            <a:schemeClr val="accent1"/>
          </a:solidFill>
          <a:ln w="22225" cap="flat" cmpd="sng" algn="ctr">
            <a:solidFill>
              <a:srgbClr val="E98B1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/>
        </p:nvSpPr>
        <p:spPr bwMode="auto">
          <a:xfrm>
            <a:off x="7134444" y="1753130"/>
            <a:ext cx="2251835" cy="1364637"/>
          </a:xfrm>
          <a:prstGeom prst="rect">
            <a:avLst/>
          </a:prstGeom>
          <a:noFill/>
          <a:ln w="34925" cap="flat" cmpd="sng" algn="ctr">
            <a:solidFill>
              <a:srgbClr val="1D992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r" defTabSz="844357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847">
              <a:latin typeface="Arial" pitchFamily="-110" charset="0"/>
            </a:endParaRPr>
          </a:p>
        </p:txBody>
      </p:sp>
      <p:sp>
        <p:nvSpPr>
          <p:cNvPr id="77" name="Rounded Rectangle 14"/>
          <p:cNvSpPr/>
          <p:nvPr/>
        </p:nvSpPr>
        <p:spPr bwMode="auto">
          <a:xfrm>
            <a:off x="8784279" y="3848736"/>
            <a:ext cx="323709" cy="789876"/>
          </a:xfrm>
          <a:prstGeom prst="roundRect">
            <a:avLst/>
          </a:prstGeom>
          <a:solidFill>
            <a:srgbClr val="007C9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ctr" defTabSz="84435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293" dirty="0">
                <a:solidFill>
                  <a:schemeClr val="bg1"/>
                </a:solidFill>
                <a:latin typeface="Calibri" panose="020F0502020204030204" pitchFamily="34" charset="0"/>
              </a:rPr>
              <a:t>Web Access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5773070" y="3358634"/>
            <a:ext cx="3401844" cy="1470689"/>
          </a:xfrm>
          <a:prstGeom prst="rect">
            <a:avLst/>
          </a:prstGeom>
          <a:noFill/>
          <a:ln w="34925" cap="flat" cmpd="sng" algn="ctr">
            <a:solidFill>
              <a:srgbClr val="009C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r" defTabSz="844357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847">
              <a:latin typeface="Arial" pitchFamily="-110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5773068" y="4863002"/>
            <a:ext cx="1422675" cy="1470689"/>
          </a:xfrm>
          <a:prstGeom prst="rect">
            <a:avLst/>
          </a:prstGeom>
          <a:noFill/>
          <a:ln w="3492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r" defTabSz="844357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847">
              <a:latin typeface="Arial" pitchFamily="-110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7323614" y="4871284"/>
            <a:ext cx="1851300" cy="1437541"/>
          </a:xfrm>
          <a:prstGeom prst="rect">
            <a:avLst/>
          </a:prstGeom>
          <a:noFill/>
          <a:ln w="3492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r" defTabSz="844357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847">
              <a:latin typeface="Arial" pitchFamily="-110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4153442" y="1753130"/>
            <a:ext cx="2948351" cy="1605504"/>
          </a:xfrm>
          <a:prstGeom prst="rect">
            <a:avLst/>
          </a:prstGeom>
          <a:noFill/>
          <a:ln w="34925" cap="flat" cmpd="sng" algn="ctr">
            <a:solidFill>
              <a:srgbClr val="009CD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433" tIns="42217" rIns="84433" bIns="42217" numCol="1" rtlCol="0" anchor="ctr" anchorCtr="0" compatLnSpc="1">
            <a:prstTxWarp prst="textNoShape">
              <a:avLst/>
            </a:prstTxWarp>
          </a:bodyPr>
          <a:lstStyle/>
          <a:p>
            <a:pPr algn="r" defTabSz="844357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847">
              <a:latin typeface="Arial" pitchFamily="-110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160FBD0-C8A6-44F8-A465-DB9898068A48}"/>
              </a:ext>
            </a:extLst>
          </p:cNvPr>
          <p:cNvGrpSpPr/>
          <p:nvPr/>
        </p:nvGrpSpPr>
        <p:grpSpPr>
          <a:xfrm>
            <a:off x="6155908" y="3525273"/>
            <a:ext cx="2604689" cy="816668"/>
            <a:chOff x="6414608" y="3139379"/>
            <a:chExt cx="2968357" cy="1039146"/>
          </a:xfrm>
        </p:grpSpPr>
        <p:sp>
          <p:nvSpPr>
            <p:cNvPr id="76" name="TextBox 75"/>
            <p:cNvSpPr txBox="1"/>
            <p:nvPr/>
          </p:nvSpPr>
          <p:spPr>
            <a:xfrm>
              <a:off x="7929021" y="3139379"/>
              <a:ext cx="1453944" cy="3344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k-SK" sz="1108" dirty="0">
                  <a:solidFill>
                    <a:srgbClr val="E98B1A"/>
                  </a:solidFill>
                </a:rPr>
                <a:t>Vlastník</a:t>
              </a:r>
              <a:r>
                <a:rPr lang="en-GB" sz="1108" dirty="0">
                  <a:solidFill>
                    <a:srgbClr val="E98B1A"/>
                  </a:solidFill>
                </a:rPr>
                <a:t> = </a:t>
              </a:r>
              <a:r>
                <a:rPr lang="sk-SK" sz="1108" dirty="0">
                  <a:solidFill>
                    <a:srgbClr val="E98B1A"/>
                  </a:solidFill>
                </a:rPr>
                <a:t>SOOL</a:t>
              </a:r>
              <a:endParaRPr lang="en-GB" sz="1108" dirty="0">
                <a:solidFill>
                  <a:srgbClr val="E98B1A"/>
                </a:solidFill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72FC70F-24FC-47A9-8FD8-FBB9C3064D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4608" y="3810620"/>
              <a:ext cx="552865" cy="36790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637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Bogen 66"/>
          <p:cNvSpPr/>
          <p:nvPr/>
        </p:nvSpPr>
        <p:spPr>
          <a:xfrm rot="12065696">
            <a:off x="8195625" y="3424587"/>
            <a:ext cx="1231384" cy="152528"/>
          </a:xfrm>
          <a:prstGeom prst="arc">
            <a:avLst>
              <a:gd name="adj1" fmla="val 12443770"/>
              <a:gd name="adj2" fmla="val 9281392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Textfeld 67"/>
          <p:cNvSpPr txBox="1"/>
          <p:nvPr/>
        </p:nvSpPr>
        <p:spPr>
          <a:xfrm>
            <a:off x="8034673" y="3052066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y Pack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el 1"/>
          <p:cNvSpPr txBox="1">
            <a:spLocks/>
          </p:cNvSpPr>
          <p:nvPr/>
        </p:nvSpPr>
        <p:spPr>
          <a:xfrm>
            <a:off x="331168" y="469860"/>
            <a:ext cx="9825441" cy="443083"/>
          </a:xfrm>
          <a:prstGeom prst="rect">
            <a:avLst/>
          </a:prstGeom>
        </p:spPr>
        <p:txBody>
          <a:bodyPr/>
          <a:lstStyle>
            <a:lvl1pPr algn="l" defTabSz="8065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0625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799" b="0" i="0" u="none" strike="noStrike" kern="1200" cap="none" spc="0" normalizeH="0" baseline="0" noProof="0" dirty="0">
                <a:ln>
                  <a:noFill/>
                </a:ln>
                <a:solidFill>
                  <a:srgbClr val="002749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Statusy balenia lieku v SK-EMVS</a:t>
            </a:r>
            <a:endParaRPr kumimoji="0" lang="de-DE" sz="2799" b="0" i="0" u="none" strike="noStrike" kern="1200" cap="none" spc="0" normalizeH="0" baseline="0" noProof="0" dirty="0">
              <a:ln>
                <a:noFill/>
              </a:ln>
              <a:solidFill>
                <a:srgbClr val="002749">
                  <a:lumMod val="90000"/>
                  <a:lumOff val="10000"/>
                </a:srgbClr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" name="Ellipse 3"/>
          <p:cNvSpPr/>
          <p:nvPr/>
        </p:nvSpPr>
        <p:spPr>
          <a:xfrm>
            <a:off x="2861681" y="1643582"/>
            <a:ext cx="834507" cy="80002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lied</a:t>
            </a:r>
            <a:b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de-DE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pensed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5" name="Ellipse 4"/>
          <p:cNvSpPr/>
          <p:nvPr/>
        </p:nvSpPr>
        <p:spPr>
          <a:xfrm>
            <a:off x="5085846" y="3393589"/>
            <a:ext cx="834507" cy="800025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ve</a:t>
            </a:r>
            <a:endParaRPr kumimoji="0" lang="de-DE" sz="11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llipse 5"/>
          <p:cNvSpPr/>
          <p:nvPr/>
        </p:nvSpPr>
        <p:spPr>
          <a:xfrm>
            <a:off x="5085846" y="1223222"/>
            <a:ext cx="834507" cy="80002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orted</a:t>
            </a:r>
            <a:endParaRPr kumimoji="0" lang="de-DE" sz="11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llipse 6"/>
          <p:cNvSpPr/>
          <p:nvPr/>
        </p:nvSpPr>
        <p:spPr>
          <a:xfrm>
            <a:off x="7245085" y="1591951"/>
            <a:ext cx="834507" cy="80002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cked Out</a:t>
            </a:r>
            <a:endParaRPr kumimoji="0" lang="de-DE" sz="11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Ellipse 7"/>
          <p:cNvSpPr/>
          <p:nvPr/>
        </p:nvSpPr>
        <p:spPr>
          <a:xfrm>
            <a:off x="7245085" y="4820472"/>
            <a:ext cx="834507" cy="80002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ee Sample</a:t>
            </a:r>
            <a:endParaRPr kumimoji="0" lang="de-DE" sz="11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Ellipse 8"/>
          <p:cNvSpPr/>
          <p:nvPr/>
        </p:nvSpPr>
        <p:spPr>
          <a:xfrm>
            <a:off x="8831499" y="3393589"/>
            <a:ext cx="834507" cy="80002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ple</a:t>
            </a:r>
            <a:endParaRPr kumimoji="0" lang="de-DE" sz="11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2983891" y="4820472"/>
            <a:ext cx="834507" cy="800025"/>
          </a:xfrm>
          <a:prstGeom prst="ellipse">
            <a:avLst/>
          </a:prstGeom>
          <a:solidFill>
            <a:schemeClr val="accent2"/>
          </a:solidFill>
          <a:ln w="38100" cmpd="dbl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troyed</a:t>
            </a:r>
            <a:endParaRPr kumimoji="0" lang="de-DE" sz="11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5085846" y="5347444"/>
            <a:ext cx="834507" cy="80002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cked</a:t>
            </a:r>
            <a:endParaRPr kumimoji="0" lang="de-DE" sz="11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1395149" y="3391184"/>
            <a:ext cx="834507" cy="800025"/>
          </a:xfrm>
          <a:prstGeom prst="ellipse">
            <a:avLst/>
          </a:prstGeom>
          <a:solidFill>
            <a:schemeClr val="accent2"/>
          </a:solidFill>
          <a:ln w="38100" cmpd="dbl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len</a:t>
            </a:r>
            <a:endParaRPr kumimoji="0" lang="de-DE" sz="11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5" name="Gerade Verbindung mit Pfeil 14"/>
          <p:cNvCxnSpPr>
            <a:stCxn id="5" idx="2"/>
            <a:endCxn id="12" idx="6"/>
          </p:cNvCxnSpPr>
          <p:nvPr/>
        </p:nvCxnSpPr>
        <p:spPr>
          <a:xfrm flipH="1" flipV="1">
            <a:off x="2229656" y="3791197"/>
            <a:ext cx="2856190" cy="2404"/>
          </a:xfrm>
          <a:prstGeom prst="straightConnector1">
            <a:avLst/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stCxn id="5" idx="1"/>
            <a:endCxn id="4" idx="5"/>
          </p:cNvCxnSpPr>
          <p:nvPr/>
        </p:nvCxnSpPr>
        <p:spPr>
          <a:xfrm flipH="1" flipV="1">
            <a:off x="3573978" y="2326446"/>
            <a:ext cx="1634078" cy="1184303"/>
          </a:xfrm>
          <a:prstGeom prst="straightConnector1">
            <a:avLst/>
          </a:prstGeom>
          <a:ln w="19050"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stCxn id="5" idx="0"/>
            <a:endCxn id="6" idx="4"/>
          </p:cNvCxnSpPr>
          <p:nvPr/>
        </p:nvCxnSpPr>
        <p:spPr>
          <a:xfrm flipV="1">
            <a:off x="5503099" y="2023247"/>
            <a:ext cx="0" cy="1370342"/>
          </a:xfrm>
          <a:prstGeom prst="straightConnector1">
            <a:avLst/>
          </a:prstGeom>
          <a:ln w="19050"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stCxn id="5" idx="7"/>
            <a:endCxn id="7" idx="3"/>
          </p:cNvCxnSpPr>
          <p:nvPr/>
        </p:nvCxnSpPr>
        <p:spPr>
          <a:xfrm flipV="1">
            <a:off x="5798143" y="2274815"/>
            <a:ext cx="1569152" cy="1235934"/>
          </a:xfrm>
          <a:prstGeom prst="straightConnector1">
            <a:avLst/>
          </a:prstGeom>
          <a:ln w="19050"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stCxn id="5" idx="6"/>
            <a:endCxn id="9" idx="2"/>
          </p:cNvCxnSpPr>
          <p:nvPr/>
        </p:nvCxnSpPr>
        <p:spPr>
          <a:xfrm>
            <a:off x="5920353" y="3793601"/>
            <a:ext cx="2911147" cy="0"/>
          </a:xfrm>
          <a:prstGeom prst="straightConnector1">
            <a:avLst/>
          </a:prstGeom>
          <a:ln w="19050"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stCxn id="5" idx="4"/>
            <a:endCxn id="11" idx="0"/>
          </p:cNvCxnSpPr>
          <p:nvPr/>
        </p:nvCxnSpPr>
        <p:spPr>
          <a:xfrm>
            <a:off x="5503099" y="4193613"/>
            <a:ext cx="0" cy="1153831"/>
          </a:xfrm>
          <a:prstGeom prst="straightConnector1">
            <a:avLst/>
          </a:prstGeom>
          <a:ln w="19050"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stCxn id="5" idx="5"/>
            <a:endCxn id="8" idx="1"/>
          </p:cNvCxnSpPr>
          <p:nvPr/>
        </p:nvCxnSpPr>
        <p:spPr>
          <a:xfrm>
            <a:off x="5798143" y="4076452"/>
            <a:ext cx="1569152" cy="861180"/>
          </a:xfrm>
          <a:prstGeom prst="straightConnector1">
            <a:avLst/>
          </a:prstGeom>
          <a:ln w="19050"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stCxn id="5" idx="3"/>
            <a:endCxn id="10" idx="7"/>
          </p:cNvCxnSpPr>
          <p:nvPr/>
        </p:nvCxnSpPr>
        <p:spPr>
          <a:xfrm flipH="1">
            <a:off x="3696188" y="4076452"/>
            <a:ext cx="1511868" cy="861180"/>
          </a:xfrm>
          <a:prstGeom prst="straightConnector1">
            <a:avLst/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Bogen 38"/>
          <p:cNvSpPr/>
          <p:nvPr/>
        </p:nvSpPr>
        <p:spPr>
          <a:xfrm rot="12065696">
            <a:off x="4367960" y="3529964"/>
            <a:ext cx="1231384" cy="152528"/>
          </a:xfrm>
          <a:prstGeom prst="arc">
            <a:avLst>
              <a:gd name="adj1" fmla="val 12443770"/>
              <a:gd name="adj2" fmla="val 9281392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529252" y="5966210"/>
            <a:ext cx="208494" cy="20047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529252" y="5670485"/>
            <a:ext cx="208494" cy="200475"/>
          </a:xfrm>
          <a:prstGeom prst="ellipse">
            <a:avLst/>
          </a:prstGeom>
          <a:solidFill>
            <a:srgbClr val="FFCCCC"/>
          </a:solidFill>
          <a:ln w="9525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3" name="Gerader Verbinder 12"/>
          <p:cNvCxnSpPr/>
          <p:nvPr/>
        </p:nvCxnSpPr>
        <p:spPr>
          <a:xfrm>
            <a:off x="331169" y="5525166"/>
            <a:ext cx="210265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/>
        </p:nvSpPr>
        <p:spPr>
          <a:xfrm>
            <a:off x="482222" y="5316000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gend</a:t>
            </a:r>
            <a:endParaRPr kumimoji="0" lang="de-DE" sz="1050" b="1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958633" y="5689952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ve states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958633" y="5985676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active states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529252" y="6261935"/>
            <a:ext cx="208494" cy="200475"/>
          </a:xfrm>
          <a:prstGeom prst="ellipse">
            <a:avLst/>
          </a:prstGeom>
          <a:solidFill>
            <a:schemeClr val="accent2"/>
          </a:solidFill>
          <a:ln w="38100" cmpd="dbl">
            <a:solidFill>
              <a:schemeClr val="accent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958632" y="6275520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minal inactive states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785780" y="2311205"/>
            <a:ext cx="814147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pense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)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4488288" y="3023188"/>
            <a:ext cx="707924" cy="32308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o</a:t>
            </a:r>
            <a:b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pense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, 3)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5314575" y="2848738"/>
            <a:ext cx="589892" cy="32308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o</a:t>
            </a:r>
            <a:b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ort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, 3)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5969576" y="3118840"/>
            <a:ext cx="777169" cy="32308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o</a:t>
            </a:r>
            <a:b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ck Out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, 3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6161467" y="3611947"/>
            <a:ext cx="611011" cy="32308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o</a:t>
            </a:r>
            <a:b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ple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, 3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5946088" y="4056337"/>
            <a:ext cx="1009162" cy="32308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o</a:t>
            </a:r>
            <a:b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ee Sample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, 3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5196212" y="4341877"/>
            <a:ext cx="875672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o Lock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, 3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5379684" y="5034610"/>
            <a:ext cx="540669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ck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3818398" y="4647327"/>
            <a:ext cx="881502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troy 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) 2)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2433822" y="3595465"/>
            <a:ext cx="1023468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len 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) 2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5318115" y="2164290"/>
            <a:ext cx="480029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buClr>
                <a:schemeClr val="accent1"/>
              </a:buClr>
              <a:buSzPct val="85000"/>
              <a:defRPr sz="1050"/>
            </a:lvl1pPr>
          </a:lstStyle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ort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6746744" y="2421730"/>
            <a:ext cx="843443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buClr>
                <a:schemeClr val="accent1"/>
              </a:buClr>
              <a:buSzPct val="85000"/>
              <a:defRPr sz="1050"/>
            </a:lvl1pPr>
          </a:lstStyle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ck Out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8079592" y="3604161"/>
            <a:ext cx="589637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ple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6780136" y="4620985"/>
            <a:ext cx="810051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ee Sample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Bogen 50"/>
          <p:cNvSpPr/>
          <p:nvPr/>
        </p:nvSpPr>
        <p:spPr>
          <a:xfrm rot="12065696">
            <a:off x="2143760" y="1792546"/>
            <a:ext cx="1231384" cy="152528"/>
          </a:xfrm>
          <a:prstGeom prst="arc">
            <a:avLst>
              <a:gd name="adj1" fmla="val 12443770"/>
              <a:gd name="adj2" fmla="val 9281392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1536532" y="1468006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y Pack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Textfeld 52"/>
          <p:cNvSpPr txBox="1"/>
          <p:nvPr/>
        </p:nvSpPr>
        <p:spPr>
          <a:xfrm>
            <a:off x="8478528" y="5142718"/>
            <a:ext cx="3356164" cy="138463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)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troy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le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cally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ailabl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vato‘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MVS 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but will not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horized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ag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til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RS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y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o.  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)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ot possible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f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tch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ired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e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alled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f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e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thdraw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ception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action</a:t>
            </a:r>
            <a:b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e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m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other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er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tch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till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v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)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owed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yond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0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y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fter original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actio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cep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‘lock‘.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e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tch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cked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thdraw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rrently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till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owed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will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xed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NMVS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sio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.2.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Bogen 53"/>
          <p:cNvSpPr/>
          <p:nvPr/>
        </p:nvSpPr>
        <p:spPr>
          <a:xfrm rot="9242980">
            <a:off x="1501215" y="-206488"/>
            <a:ext cx="4569147" cy="6650657"/>
          </a:xfrm>
          <a:prstGeom prst="arc">
            <a:avLst>
              <a:gd name="adj1" fmla="val 16137430"/>
              <a:gd name="adj2" fmla="val 21453457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1717922" y="4398051"/>
            <a:ext cx="1023468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len 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) 2)</a:t>
            </a:r>
            <a:endParaRPr kumimoji="0" lang="de-DE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Bogen 56"/>
          <p:cNvSpPr/>
          <p:nvPr/>
        </p:nvSpPr>
        <p:spPr>
          <a:xfrm rot="8582911">
            <a:off x="3260952" y="2491940"/>
            <a:ext cx="4569147" cy="2952595"/>
          </a:xfrm>
          <a:prstGeom prst="arc">
            <a:avLst>
              <a:gd name="adj1" fmla="val 19282545"/>
              <a:gd name="adj2" fmla="val 21453457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Textfeld 57"/>
          <p:cNvSpPr txBox="1"/>
          <p:nvPr/>
        </p:nvSpPr>
        <p:spPr>
          <a:xfrm>
            <a:off x="3829234" y="5539726"/>
            <a:ext cx="881502" cy="161541"/>
          </a:xfrm>
          <a:prstGeom prst="rect">
            <a:avLst/>
          </a:prstGeom>
          <a:solidFill>
            <a:srgbClr val="FFFFFF">
              <a:alpha val="69804"/>
            </a:srgbClr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troy </a:t>
            </a:r>
            <a:r>
              <a:rPr kumimoji="0" lang="de-DE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) 2)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Bogen 58"/>
          <p:cNvSpPr/>
          <p:nvPr/>
        </p:nvSpPr>
        <p:spPr>
          <a:xfrm rot="12065696">
            <a:off x="4378390" y="1343633"/>
            <a:ext cx="1231384" cy="152528"/>
          </a:xfrm>
          <a:prstGeom prst="arc">
            <a:avLst>
              <a:gd name="adj1" fmla="val 12443770"/>
              <a:gd name="adj2" fmla="val 9281392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Textfeld 59"/>
          <p:cNvSpPr txBox="1"/>
          <p:nvPr/>
        </p:nvSpPr>
        <p:spPr>
          <a:xfrm>
            <a:off x="3663060" y="1149218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y Pack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Bogen 60"/>
          <p:cNvSpPr/>
          <p:nvPr/>
        </p:nvSpPr>
        <p:spPr>
          <a:xfrm rot="12065696">
            <a:off x="6519112" y="1739183"/>
            <a:ext cx="1231384" cy="152528"/>
          </a:xfrm>
          <a:prstGeom prst="arc">
            <a:avLst>
              <a:gd name="adj1" fmla="val 12443770"/>
              <a:gd name="adj2" fmla="val 9281392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Textfeld 61"/>
          <p:cNvSpPr txBox="1"/>
          <p:nvPr/>
        </p:nvSpPr>
        <p:spPr>
          <a:xfrm>
            <a:off x="6358160" y="1366662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y Pack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3711361" y="3360239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y Pack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Bogen 63"/>
          <p:cNvSpPr/>
          <p:nvPr/>
        </p:nvSpPr>
        <p:spPr>
          <a:xfrm rot="12065696">
            <a:off x="676253" y="3489636"/>
            <a:ext cx="1231384" cy="152528"/>
          </a:xfrm>
          <a:prstGeom prst="arc">
            <a:avLst>
              <a:gd name="adj1" fmla="val 12443770"/>
              <a:gd name="adj2" fmla="val 9281392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Textfeld 64"/>
          <p:cNvSpPr txBox="1"/>
          <p:nvPr/>
        </p:nvSpPr>
        <p:spPr>
          <a:xfrm>
            <a:off x="428084" y="3084325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y Pack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Bogen 68"/>
          <p:cNvSpPr/>
          <p:nvPr/>
        </p:nvSpPr>
        <p:spPr>
          <a:xfrm rot="9534304" flipH="1">
            <a:off x="7545030" y="4868744"/>
            <a:ext cx="1231384" cy="152528"/>
          </a:xfrm>
          <a:prstGeom prst="arc">
            <a:avLst>
              <a:gd name="adj1" fmla="val 12443770"/>
              <a:gd name="adj2" fmla="val 9281392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Textfeld 69"/>
          <p:cNvSpPr txBox="1"/>
          <p:nvPr/>
        </p:nvSpPr>
        <p:spPr>
          <a:xfrm flipH="1">
            <a:off x="8120320" y="4503418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y Pack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Bogen 70"/>
          <p:cNvSpPr/>
          <p:nvPr/>
        </p:nvSpPr>
        <p:spPr>
          <a:xfrm rot="9534304" flipH="1">
            <a:off x="5386138" y="5427275"/>
            <a:ext cx="1231384" cy="152528"/>
          </a:xfrm>
          <a:prstGeom prst="arc">
            <a:avLst>
              <a:gd name="adj1" fmla="val 12443770"/>
              <a:gd name="adj2" fmla="val 9281392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Textfeld 71"/>
          <p:cNvSpPr txBox="1"/>
          <p:nvPr/>
        </p:nvSpPr>
        <p:spPr>
          <a:xfrm flipH="1">
            <a:off x="5961428" y="5061948"/>
            <a:ext cx="1727721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y Pack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Bogen 72"/>
          <p:cNvSpPr/>
          <p:nvPr/>
        </p:nvSpPr>
        <p:spPr>
          <a:xfrm rot="12065696">
            <a:off x="2255725" y="4942148"/>
            <a:ext cx="1231384" cy="152528"/>
          </a:xfrm>
          <a:prstGeom prst="arc">
            <a:avLst>
              <a:gd name="adj1" fmla="val 12443770"/>
              <a:gd name="adj2" fmla="val 9281392"/>
            </a:avLst>
          </a:prstGeom>
          <a:ln w="19050"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2316946" y="4566556"/>
            <a:ext cx="778735" cy="16154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B2D6E8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y Pack</a:t>
            </a:r>
            <a:endParaRPr kumimoji="0" lang="de-DE" sz="1050" b="0" i="0" u="none" strike="noStrike" kern="1200" cap="none" spc="0" normalizeH="0" baseline="30000" noProof="0" dirty="0" err="1">
              <a:ln>
                <a:noFill/>
              </a:ln>
              <a:solidFill>
                <a:srgbClr val="B2D6E8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64540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331168" y="469860"/>
            <a:ext cx="10949408" cy="750337"/>
          </a:xfrm>
          <a:prstGeom prst="rect">
            <a:avLst/>
          </a:prstGeom>
        </p:spPr>
        <p:txBody>
          <a:bodyPr/>
          <a:lstStyle>
            <a:lvl1pPr algn="l" defTabSz="8065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80625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400" b="0" i="0" u="none" strike="noStrike" kern="1200" cap="none" spc="0" normalizeH="0" baseline="0" noProof="0" dirty="0">
                <a:ln>
                  <a:noFill/>
                </a:ln>
                <a:solidFill>
                  <a:srgbClr val="002749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Kedy je balenie aktívne, resp. neaktívne pri jeho overovaní cez SK-NMVS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002749">
                  <a:lumMod val="90000"/>
                  <a:lumOff val="10000"/>
                </a:srgbClr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2670" y="1284038"/>
            <a:ext cx="9356970" cy="519906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7457097" y="2804217"/>
            <a:ext cx="287602" cy="184618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)</a:t>
            </a:r>
            <a:endParaRPr kumimoji="0" lang="de-DE" sz="1999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2622226" y="3883568"/>
            <a:ext cx="1599783" cy="276927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799" b="1" i="0" u="sng" strike="noStrike" kern="1200" cap="none" spc="0" normalizeH="0" baseline="0" noProof="0" dirty="0" err="1">
                <a:ln>
                  <a:noFill/>
                </a:ln>
                <a:solidFill>
                  <a:srgbClr val="B2D6E8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active</a:t>
            </a:r>
            <a:endParaRPr kumimoji="0" lang="de-DE" sz="1799" b="1" i="0" u="sng" strike="noStrike" kern="1200" cap="none" spc="0" normalizeH="0" baseline="0" noProof="0" dirty="0">
              <a:ln>
                <a:noFill/>
              </a:ln>
              <a:solidFill>
                <a:srgbClr val="B2D6E8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93032" y="5865404"/>
            <a:ext cx="2929085" cy="55385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95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8A9"/>
              </a:buClr>
              <a:buSzPct val="85000"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)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iry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tende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ortene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y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AH after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tch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ve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e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mitte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0958" y="2888334"/>
            <a:ext cx="763474" cy="327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65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CBD55-1545-45EC-8CF4-5F2D25163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ARVATO krajiny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79B4E3-3748-4E68-BFB7-8B13E0B85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7</a:t>
            </a:fld>
            <a:endParaRPr lang="sk-S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405E3E-F5B6-460B-8DFF-A65B4EC6FA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602" y="2294965"/>
            <a:ext cx="8283388" cy="4161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4109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42BB173-1783-490D-9297-5E6111F48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Slovenský NMVS - status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6FD507-D896-41F8-8968-05FF25FAB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15456-A428-4578-B7F5-824AB9BB897F}" type="datetime1">
              <a:rPr lang="en-US" smtClean="0"/>
              <a:t>9/18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BEFEE-8ADB-4575-8602-324B5941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B00E74-DB4E-49C4-B12E-D544CE356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</p:spPr>
        <p:txBody>
          <a:bodyPr/>
          <a:lstStyle/>
          <a:p>
            <a:fld id="{42251CF9-C5C1-4C02-906F-0F7A2A4E06B5}" type="slidenum">
              <a:rPr lang="sk-SK" smtClean="0"/>
              <a:t>8</a:t>
            </a:fld>
            <a:endParaRPr lang="sk-SK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CFEEA5-67DE-4EB0-9477-C41AEF3B8324}"/>
              </a:ext>
            </a:extLst>
          </p:cNvPr>
          <p:cNvSpPr txBox="1"/>
          <p:nvPr/>
        </p:nvSpPr>
        <p:spPr>
          <a:xfrm>
            <a:off x="561110" y="2501153"/>
            <a:ext cx="11012325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sk-SK" sz="1600" dirty="0"/>
              <a:t>SK NMVS je v produkčnej pilotnej prevádzke od 26/06/2018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sk-SK" sz="1400" dirty="0"/>
              <a:t>7 </a:t>
            </a:r>
            <a:r>
              <a:rPr lang="sk-SK" sz="1400" dirty="0" err="1"/>
              <a:t>MAHov</a:t>
            </a:r>
            <a:r>
              <a:rPr lang="sk-SK" sz="1400" dirty="0"/>
              <a:t> už začalo nahrávať </a:t>
            </a:r>
            <a:r>
              <a:rPr lang="sk-SK" sz="1400" dirty="0" err="1"/>
              <a:t>serializovanú</a:t>
            </a:r>
            <a:r>
              <a:rPr lang="sk-SK" sz="1400" dirty="0"/>
              <a:t> produkciu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sk-SK" sz="1400" dirty="0"/>
              <a:t>138994  </a:t>
            </a:r>
            <a:r>
              <a:rPr lang="sk-SK" sz="1400" dirty="0" err="1"/>
              <a:t>serializovaných</a:t>
            </a:r>
            <a:r>
              <a:rPr lang="sk-SK" sz="1400" dirty="0"/>
              <a:t> balení je už nahratých v SK NMVS k 17/09/2018 </a:t>
            </a:r>
            <a:r>
              <a:rPr lang="sk-SK" sz="1100" dirty="0"/>
              <a:t>(</a:t>
            </a:r>
            <a:r>
              <a:rPr lang="sk-SK" sz="1100" dirty="0" err="1"/>
              <a:t>Sumatriptan</a:t>
            </a:r>
            <a:r>
              <a:rPr lang="sk-SK" sz="1100" dirty="0"/>
              <a:t>, </a:t>
            </a:r>
            <a:r>
              <a:rPr lang="sk-SK" sz="1100" dirty="0" err="1"/>
              <a:t>Keytruda</a:t>
            </a:r>
            <a:r>
              <a:rPr lang="sk-SK" sz="1100" dirty="0"/>
              <a:t>, </a:t>
            </a:r>
            <a:r>
              <a:rPr lang="sk-SK" sz="1100" dirty="0" err="1"/>
              <a:t>Aerius</a:t>
            </a:r>
            <a:r>
              <a:rPr lang="sk-SK" sz="1100" dirty="0"/>
              <a:t>, </a:t>
            </a:r>
            <a:r>
              <a:rPr lang="sk-SK" sz="1100" dirty="0" err="1"/>
              <a:t>Zocor</a:t>
            </a:r>
            <a:r>
              <a:rPr lang="sk-SK" sz="1100" dirty="0"/>
              <a:t>, </a:t>
            </a:r>
            <a:r>
              <a:rPr lang="sk-SK" sz="1100" dirty="0" err="1"/>
              <a:t>Ivement</a:t>
            </a:r>
            <a:r>
              <a:rPr lang="sk-SK" sz="1100" dirty="0"/>
              <a:t>, </a:t>
            </a:r>
            <a:r>
              <a:rPr lang="sk-SK" sz="1100" dirty="0" err="1"/>
              <a:t>Singulair</a:t>
            </a:r>
            <a:r>
              <a:rPr lang="sk-SK" sz="1100" dirty="0"/>
              <a:t>) </a:t>
            </a:r>
          </a:p>
          <a:p>
            <a:pPr marL="342900" indent="-342900">
              <a:buFont typeface="+mj-lt"/>
              <a:buAutoNum type="arabicPeriod"/>
            </a:pPr>
            <a:r>
              <a:rPr lang="sk-SK" sz="1600" dirty="0"/>
              <a:t>SOOL spustil </a:t>
            </a:r>
            <a:r>
              <a:rPr lang="sk-SK" sz="1600" dirty="0" err="1"/>
              <a:t>onboarding</a:t>
            </a:r>
            <a:r>
              <a:rPr lang="sk-SK" sz="1600" dirty="0"/>
              <a:t> </a:t>
            </a:r>
            <a:r>
              <a:rPr lang="sk-SK" sz="1600" dirty="0" err="1"/>
              <a:t>portal</a:t>
            </a:r>
            <a:r>
              <a:rPr lang="sk-SK" sz="1600" dirty="0"/>
              <a:t> pre výrobcov – </a:t>
            </a:r>
            <a:r>
              <a:rPr lang="sk-SK" sz="1600" dirty="0" err="1"/>
              <a:t>MAHov</a:t>
            </a:r>
            <a:r>
              <a:rPr lang="sk-SK" sz="1600" dirty="0"/>
              <a:t>, prostredníctvom ktorého </a:t>
            </a:r>
            <a:r>
              <a:rPr lang="sk-SK" sz="1600" dirty="0" err="1"/>
              <a:t>zazmluvňuje</a:t>
            </a:r>
            <a:r>
              <a:rPr lang="sk-SK" sz="1600" dirty="0"/>
              <a:t> </a:t>
            </a:r>
            <a:r>
              <a:rPr lang="sk-SK" sz="1600" dirty="0" err="1"/>
              <a:t>MAHov</a:t>
            </a:r>
            <a:r>
              <a:rPr lang="sk-SK" sz="1600" dirty="0"/>
              <a:t> v súlade s FM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sk-SK" sz="1200" dirty="0"/>
              <a:t>132 </a:t>
            </a:r>
            <a:r>
              <a:rPr lang="sk-SK" sz="1200" dirty="0" err="1"/>
              <a:t>spoločnosí</a:t>
            </a:r>
            <a:r>
              <a:rPr lang="sk-SK" sz="1200" dirty="0"/>
              <a:t> reprezentujúcich cca 230 </a:t>
            </a:r>
            <a:r>
              <a:rPr lang="sk-SK" sz="1200" dirty="0" err="1"/>
              <a:t>MAHov</a:t>
            </a:r>
            <a:r>
              <a:rPr lang="sk-SK" sz="1200" dirty="0"/>
              <a:t> začalo </a:t>
            </a:r>
            <a:r>
              <a:rPr lang="sk-SK" sz="1200" dirty="0" err="1"/>
              <a:t>registrčný</a:t>
            </a:r>
            <a:r>
              <a:rPr lang="sk-SK" sz="1200" dirty="0"/>
              <a:t> proces,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sk-SK" sz="1200" dirty="0"/>
              <a:t>82 spoločností SOOL validoval čo je 100 </a:t>
            </a:r>
            <a:r>
              <a:rPr lang="sk-SK" sz="1200" dirty="0" err="1"/>
              <a:t>MAHov</a:t>
            </a:r>
            <a:endParaRPr lang="sk-SK" sz="12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sk-SK" sz="1200" dirty="0"/>
              <a:t>2 spoločnosti už zaplatili ročný poplatok</a:t>
            </a:r>
          </a:p>
          <a:p>
            <a:pPr marL="342900" indent="-342900">
              <a:buFont typeface="+mj-lt"/>
              <a:buAutoNum type="arabicPeriod"/>
            </a:pPr>
            <a:r>
              <a:rPr lang="sk-SK" sz="1600" dirty="0"/>
              <a:t>SOOL v spolupráci s </a:t>
            </a:r>
            <a:r>
              <a:rPr lang="sk-SK" sz="1600" dirty="0" err="1"/>
              <a:t>ARVATom</a:t>
            </a:r>
            <a:r>
              <a:rPr lang="sk-SK" sz="1600" dirty="0"/>
              <a:t> a inými ARVATO krajinami spustil tzv. </a:t>
            </a:r>
            <a:r>
              <a:rPr lang="sk-SK" sz="1600" dirty="0" err="1"/>
              <a:t>Baseline</a:t>
            </a:r>
            <a:r>
              <a:rPr lang="sk-SK" sz="1600" dirty="0"/>
              <a:t> test pre SW dodávateľov pre ich pomoc a validovanie ich SW, ktoré pripravujú pre svojich užívateľov </a:t>
            </a:r>
          </a:p>
          <a:p>
            <a:pPr marL="342900" indent="-342900">
              <a:buFont typeface="+mj-lt"/>
              <a:buAutoNum type="arabicPeriod"/>
            </a:pPr>
            <a:r>
              <a:rPr lang="sk-SK" sz="1600" dirty="0"/>
              <a:t>SOOL pripravuje spolu s </a:t>
            </a:r>
            <a:r>
              <a:rPr lang="sk-SK" sz="1600" dirty="0" err="1"/>
              <a:t>Crystal</a:t>
            </a:r>
            <a:r>
              <a:rPr lang="sk-SK" sz="1600" dirty="0"/>
              <a:t> </a:t>
            </a:r>
            <a:r>
              <a:rPr lang="sk-SK" sz="1600" dirty="0" err="1"/>
              <a:t>Consulting</a:t>
            </a:r>
            <a:r>
              <a:rPr lang="sk-SK" sz="1600" dirty="0"/>
              <a:t> </a:t>
            </a:r>
            <a:r>
              <a:rPr lang="sk-SK" sz="1600" dirty="0" err="1"/>
              <a:t>onboarding</a:t>
            </a:r>
            <a:r>
              <a:rPr lang="sk-SK" sz="1600" dirty="0"/>
              <a:t> portál pre koncových užívateľov SOOL – lekárne a distribútorov, prostredníctvom ktorého bude validovať koncových užívateľov a zasielať im prístupové informácie k SK NMVS a zároveň ktorý v budúcnosti plánuje použiť na incident management v </a:t>
            </a:r>
            <a:r>
              <a:rPr lang="sk-SK" sz="1600" dirty="0" err="1"/>
              <a:t>lekárńach</a:t>
            </a:r>
            <a:endParaRPr lang="sk-SK" sz="1600" dirty="0"/>
          </a:p>
          <a:p>
            <a:pPr marL="342900" indent="-342900">
              <a:buFont typeface="+mj-lt"/>
              <a:buAutoNum type="arabicPeriod"/>
            </a:pPr>
            <a:r>
              <a:rPr lang="sk-SK" sz="1600" dirty="0"/>
              <a:t>SOOL spolupracuje s MZ a ŠUKL na vyjasnení niektorých aspektov FMD</a:t>
            </a:r>
          </a:p>
          <a:p>
            <a:pPr marL="342900" indent="-342900">
              <a:buFont typeface="+mj-lt"/>
              <a:buAutoNum type="arabicPeriod"/>
            </a:pPr>
            <a:endParaRPr lang="sk-SK" sz="1600" dirty="0"/>
          </a:p>
          <a:p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252671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B55AF-7CF3-4B53-9CD4-B432D3A6C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Situácia v Európ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1D23BA-D534-4EB6-B409-6AB7F9B8C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51CF9-C5C1-4C02-906F-0F7A2A4E06B5}" type="slidenum">
              <a:rPr lang="sk-SK" smtClean="0"/>
              <a:t>9</a:t>
            </a:fld>
            <a:endParaRPr lang="sk-S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FDBC30-E0F1-4C3C-A91B-9F820769EF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33600"/>
            <a:ext cx="12192000" cy="4430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2539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ón − zasadacia miestnosť">
  <a:themeElements>
    <a:clrScheme name="Ión − zasadacia miestnosť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Ión − zasadacia miestnosť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ón − zasadacia miestnosť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 name="Ion Boardroom">
  <a:themeElements>
    <a:clrScheme name="Ion Boardroom">
      <a:dk1>
        <a:sysClr val="windowText" lastClr="000000"/>
      </a:dk1>
      <a:lt1>
        <a:sysClr val="window" lastClr="FFFFFF"/>
      </a:lt1>
      <a:dk2>
        <a:srgbClr val="EE5818"/>
      </a:dk2>
      <a:lt2>
        <a:srgbClr val="EBEBEB"/>
      </a:lt2>
      <a:accent1>
        <a:srgbClr val="F5A408"/>
      </a:accent1>
      <a:accent2>
        <a:srgbClr val="FA731A"/>
      </a:accent2>
      <a:accent3>
        <a:srgbClr val="AB9281"/>
      </a:accent3>
      <a:accent4>
        <a:srgbClr val="A18CD0"/>
      </a:accent4>
      <a:accent5>
        <a:srgbClr val="8EBBD2"/>
      </a:accent5>
      <a:accent6>
        <a:srgbClr val="ACC995"/>
      </a:accent6>
      <a:hlink>
        <a:srgbClr val="FAC96A"/>
      </a:hlink>
      <a:folHlink>
        <a:srgbClr val="FCDB9B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04000"/>
                <a:satMod val="128000"/>
                <a:lumMod val="10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68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42000"/>
                <a:hueMod val="42000"/>
                <a:satMod val="124000"/>
                <a:lumMod val="62000"/>
              </a:schemeClr>
              <a:schemeClr val="phClr">
                <a:tint val="96000"/>
                <a:satMod val="13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F1C4790-FE3C-4020-8CA7-00621DA7BBBC}"/>
    </a:ext>
  </a:extLst>
</a:theme>
</file>

<file path=ppt/theme/theme3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9377</TotalTime>
  <Words>670</Words>
  <Application>Microsoft Office PowerPoint</Application>
  <PresentationFormat>Širokouhlá</PresentationFormat>
  <Paragraphs>138</Paragraphs>
  <Slides>16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4</vt:i4>
      </vt:variant>
      <vt:variant>
        <vt:lpstr>Motí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6</vt:i4>
      </vt:variant>
    </vt:vector>
  </HeadingPairs>
  <TitlesOfParts>
    <vt:vector size="23" baseType="lpstr">
      <vt:lpstr>Arial</vt:lpstr>
      <vt:lpstr>Calibri</vt:lpstr>
      <vt:lpstr>Century Gothic</vt:lpstr>
      <vt:lpstr>Wingdings 3</vt:lpstr>
      <vt:lpstr>Ión − zasadacia miestnosť</vt:lpstr>
      <vt:lpstr>Ion Boardroom</vt:lpstr>
      <vt:lpstr>think-cell Folie</vt:lpstr>
      <vt:lpstr>SOOL</vt:lpstr>
      <vt:lpstr>Agenda</vt:lpstr>
      <vt:lpstr>Aktuány stav projektu</vt:lpstr>
      <vt:lpstr>EMVS – koncept riešenia</vt:lpstr>
      <vt:lpstr>Prezentácia programu PowerPoint</vt:lpstr>
      <vt:lpstr>Prezentácia programu PowerPoint</vt:lpstr>
      <vt:lpstr>ARVATO krajiny</vt:lpstr>
      <vt:lpstr>Slovenský NMVS - status</vt:lpstr>
      <vt:lpstr>Situácia v Európe</vt:lpstr>
      <vt:lpstr>Prezentácia programu PowerPoint</vt:lpstr>
      <vt:lpstr>Štatistika SK SW poskytovateľov v ARVATO Sandboxe</vt:lpstr>
      <vt:lpstr>Aktuálne verzie SK - NMVS</vt:lpstr>
      <vt:lpstr>Prezentácia programu PowerPoint</vt:lpstr>
      <vt:lpstr>Agenda</vt:lpstr>
      <vt:lpstr>Tracelink EU FMD Compliance Offering – ukážka riešenia</vt:lpstr>
      <vt:lpstr>NMVS Connect – ukážka standalone riešeni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ces pripojenia a verifikácie LP</dc:title>
  <dc:creator>Pavol Ondrovic</dc:creator>
  <cp:lastModifiedBy>Pavol Ondrovic</cp:lastModifiedBy>
  <cp:revision>73</cp:revision>
  <dcterms:created xsi:type="dcterms:W3CDTF">2018-03-13T08:08:32Z</dcterms:created>
  <dcterms:modified xsi:type="dcterms:W3CDTF">2018-09-18T15:33:36Z</dcterms:modified>
</cp:coreProperties>
</file>